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05" r:id="rId6"/>
    <p:sldMasterId id="2147483720" r:id="rId7"/>
    <p:sldMasterId id="2147483757" r:id="rId8"/>
  </p:sldMasterIdLst>
  <p:notesMasterIdLst>
    <p:notesMasterId r:id="rId62"/>
  </p:notesMasterIdLst>
  <p:handoutMasterIdLst>
    <p:handoutMasterId r:id="rId63"/>
  </p:handoutMasterIdLst>
  <p:sldIdLst>
    <p:sldId id="283" r:id="rId9"/>
    <p:sldId id="323" r:id="rId10"/>
    <p:sldId id="324" r:id="rId11"/>
    <p:sldId id="285" r:id="rId12"/>
    <p:sldId id="286" r:id="rId13"/>
    <p:sldId id="287" r:id="rId14"/>
    <p:sldId id="288" r:id="rId15"/>
    <p:sldId id="289" r:id="rId16"/>
    <p:sldId id="330" r:id="rId17"/>
    <p:sldId id="334" r:id="rId18"/>
    <p:sldId id="299" r:id="rId19"/>
    <p:sldId id="336" r:id="rId20"/>
    <p:sldId id="338" r:id="rId21"/>
    <p:sldId id="339" r:id="rId22"/>
    <p:sldId id="301" r:id="rId23"/>
    <p:sldId id="337" r:id="rId24"/>
    <p:sldId id="302" r:id="rId25"/>
    <p:sldId id="303" r:id="rId26"/>
    <p:sldId id="304" r:id="rId27"/>
    <p:sldId id="305" r:id="rId28"/>
    <p:sldId id="306" r:id="rId29"/>
    <p:sldId id="307" r:id="rId30"/>
    <p:sldId id="308" r:id="rId31"/>
    <p:sldId id="309" r:id="rId32"/>
    <p:sldId id="335" r:id="rId33"/>
    <p:sldId id="293" r:id="rId34"/>
    <p:sldId id="294" r:id="rId35"/>
    <p:sldId id="295" r:id="rId36"/>
    <p:sldId id="296" r:id="rId37"/>
    <p:sldId id="297" r:id="rId38"/>
    <p:sldId id="327" r:id="rId39"/>
    <p:sldId id="311" r:id="rId40"/>
    <p:sldId id="312" r:id="rId41"/>
    <p:sldId id="314" r:id="rId42"/>
    <p:sldId id="340" r:id="rId43"/>
    <p:sldId id="341" r:id="rId44"/>
    <p:sldId id="342" r:id="rId45"/>
    <p:sldId id="343" r:id="rId46"/>
    <p:sldId id="315" r:id="rId47"/>
    <p:sldId id="316" r:id="rId48"/>
    <p:sldId id="317" r:id="rId49"/>
    <p:sldId id="318" r:id="rId50"/>
    <p:sldId id="328" r:id="rId51"/>
    <p:sldId id="320" r:id="rId52"/>
    <p:sldId id="332" r:id="rId53"/>
    <p:sldId id="333" r:id="rId54"/>
    <p:sldId id="321" r:id="rId55"/>
    <p:sldId id="322" r:id="rId56"/>
    <p:sldId id="344" r:id="rId57"/>
    <p:sldId id="345" r:id="rId58"/>
    <p:sldId id="346" r:id="rId59"/>
    <p:sldId id="347" r:id="rId60"/>
    <p:sldId id="348"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56" autoAdjust="0"/>
  </p:normalViewPr>
  <p:slideViewPr>
    <p:cSldViewPr snapToGrid="0">
      <p:cViewPr varScale="1">
        <p:scale>
          <a:sx n="68" d="100"/>
          <a:sy n="68" d="100"/>
        </p:scale>
        <p:origin x="987" y="2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handoutMaster" Target="handoutMasters/handoutMaster1.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DF062ABE-62FC-426F-B6A6-B59630E569D6}"/>
    <pc:docChg chg="modSld">
      <pc:chgData name="Andy Roberts" userId="b6430d21-8e5e-4d9c-81e9-e1ae515d6d74" providerId="ADAL" clId="{DF062ABE-62FC-426F-B6A6-B59630E569D6}" dt="2017-12-06T16:34:26.049" v="7" actId="20577"/>
      <pc:docMkLst>
        <pc:docMk/>
      </pc:docMkLst>
      <pc:sldChg chg="modSp">
        <pc:chgData name="Andy Roberts" userId="b6430d21-8e5e-4d9c-81e9-e1ae515d6d74" providerId="ADAL" clId="{DF062ABE-62FC-426F-B6A6-B59630E569D6}" dt="2017-12-06T16:32:17.947" v="0" actId="20577"/>
        <pc:sldMkLst>
          <pc:docMk/>
          <pc:sldMk cId="1596498392" sldId="289"/>
        </pc:sldMkLst>
        <pc:spChg chg="mod">
          <ac:chgData name="Andy Roberts" userId="b6430d21-8e5e-4d9c-81e9-e1ae515d6d74" providerId="ADAL" clId="{DF062ABE-62FC-426F-B6A6-B59630E569D6}" dt="2017-12-06T16:32:17.947" v="0" actId="20577"/>
          <ac:spMkLst>
            <pc:docMk/>
            <pc:sldMk cId="1596498392" sldId="289"/>
            <ac:spMk id="8" creationId="{00000000-0000-0000-0000-000000000000}"/>
          </ac:spMkLst>
        </pc:spChg>
      </pc:sldChg>
      <pc:sldChg chg="modSp">
        <pc:chgData name="Andy Roberts" userId="b6430d21-8e5e-4d9c-81e9-e1ae515d6d74" providerId="ADAL" clId="{DF062ABE-62FC-426F-B6A6-B59630E569D6}" dt="2017-12-06T16:34:26.049" v="7" actId="20577"/>
        <pc:sldMkLst>
          <pc:docMk/>
          <pc:sldMk cId="4126405699" sldId="330"/>
        </pc:sldMkLst>
        <pc:spChg chg="mod">
          <ac:chgData name="Andy Roberts" userId="b6430d21-8e5e-4d9c-81e9-e1ae515d6d74" providerId="ADAL" clId="{DF062ABE-62FC-426F-B6A6-B59630E569D6}" dt="2017-12-06T16:34:26.049" v="7" actId="20577"/>
          <ac:spMkLst>
            <pc:docMk/>
            <pc:sldMk cId="4126405699" sldId="330"/>
            <ac:spMk id="331" creationId="{00000000-0000-0000-0000-000000000000}"/>
          </ac:spMkLst>
        </pc:spChg>
      </pc:sldChg>
    </pc:docChg>
  </pc:docChgLst>
  <pc:docChgLst>
    <pc:chgData name="Carla Staeben" userId="870ef43d-5760-4508-a20a-432a8f544527" providerId="ADAL" clId="{49BCDA18-114C-4276-9F32-9131E6366B6C}"/>
    <pc:docChg chg="delSld">
      <pc:chgData name="Carla Staeben" userId="870ef43d-5760-4508-a20a-432a8f544527" providerId="ADAL" clId="{49BCDA18-114C-4276-9F32-9131E6366B6C}" dt="2017-08-04T18:11:14.256" v="2" actId="2696"/>
      <pc:docMkLst>
        <pc:docMk/>
      </pc:docMkLst>
      <pc:sldChg chg="del">
        <pc:chgData name="Carla Staeben" userId="870ef43d-5760-4508-a20a-432a8f544527" providerId="ADAL" clId="{49BCDA18-114C-4276-9F32-9131E6366B6C}" dt="2017-08-04T18:10:56.589" v="0" actId="2696"/>
        <pc:sldMkLst>
          <pc:docMk/>
          <pc:sldMk cId="1665733023" sldId="271"/>
        </pc:sldMkLst>
      </pc:sldChg>
      <pc:sldChg chg="del">
        <pc:chgData name="Carla Staeben" userId="870ef43d-5760-4508-a20a-432a8f544527" providerId="ADAL" clId="{49BCDA18-114C-4276-9F32-9131E6366B6C}" dt="2017-08-04T18:11:14.256" v="2" actId="2696"/>
        <pc:sldMkLst>
          <pc:docMk/>
          <pc:sldMk cId="4238450048" sldId="272"/>
        </pc:sldMkLst>
      </pc:sldChg>
      <pc:sldChg chg="del">
        <pc:chgData name="Carla Staeben" userId="870ef43d-5760-4508-a20a-432a8f544527" providerId="ADAL" clId="{49BCDA18-114C-4276-9F32-9131E6366B6C}" dt="2017-08-04T18:11:00.789" v="1" actId="2696"/>
        <pc:sldMkLst>
          <pc:docMk/>
          <pc:sldMk cId="4178564752" sldId="274"/>
        </pc:sldMkLst>
      </pc:sldChg>
    </pc:docChg>
  </pc:docChgLst>
  <pc:docChgLst>
    <pc:chgData name="Andy Roberts" userId="b6430d21-8e5e-4d9c-81e9-e1ae515d6d74" providerId="ADAL" clId="{356C853E-D027-4183-864D-1C71215F695F}"/>
    <pc:docChg chg="undo custSel addSld delSld modSld sldOrd modMainMaster">
      <pc:chgData name="Andy Roberts" userId="b6430d21-8e5e-4d9c-81e9-e1ae515d6d74" providerId="ADAL" clId="{356C853E-D027-4183-864D-1C71215F695F}" dt="2017-12-05T20:24:34.660" v="668" actId="2696"/>
      <pc:docMkLst>
        <pc:docMk/>
      </pc:docMkLst>
      <pc:sldChg chg="modSp">
        <pc:chgData name="Andy Roberts" userId="b6430d21-8e5e-4d9c-81e9-e1ae515d6d74" providerId="ADAL" clId="{356C853E-D027-4183-864D-1C71215F695F}" dt="2017-12-05T17:46:44.136" v="34" actId="20577"/>
        <pc:sldMkLst>
          <pc:docMk/>
          <pc:sldMk cId="193853358" sldId="283"/>
        </pc:sldMkLst>
        <pc:spChg chg="mod">
          <ac:chgData name="Andy Roberts" userId="b6430d21-8e5e-4d9c-81e9-e1ae515d6d74" providerId="ADAL" clId="{356C853E-D027-4183-864D-1C71215F695F}" dt="2017-12-05T17:46:44.136" v="34" actId="20577"/>
          <ac:spMkLst>
            <pc:docMk/>
            <pc:sldMk cId="193853358" sldId="283"/>
            <ac:spMk id="4" creationId="{00000000-0000-0000-0000-000000000000}"/>
          </ac:spMkLst>
        </pc:spChg>
      </pc:sldChg>
      <pc:sldChg chg="modSp">
        <pc:chgData name="Andy Roberts" userId="b6430d21-8e5e-4d9c-81e9-e1ae515d6d74" providerId="ADAL" clId="{356C853E-D027-4183-864D-1C71215F695F}" dt="2017-12-05T17:51:45.448" v="140" actId="113"/>
        <pc:sldMkLst>
          <pc:docMk/>
          <pc:sldMk cId="2759747328" sldId="287"/>
        </pc:sldMkLst>
        <pc:spChg chg="mod">
          <ac:chgData name="Andy Roberts" userId="b6430d21-8e5e-4d9c-81e9-e1ae515d6d74" providerId="ADAL" clId="{356C853E-D027-4183-864D-1C71215F695F}" dt="2017-12-05T17:51:45.448" v="140" actId="113"/>
          <ac:spMkLst>
            <pc:docMk/>
            <pc:sldMk cId="2759747328" sldId="287"/>
            <ac:spMk id="30" creationId="{00000000-0000-0000-0000-000000000000}"/>
          </ac:spMkLst>
        </pc:spChg>
      </pc:sldChg>
      <pc:sldChg chg="modSp">
        <pc:chgData name="Andy Roberts" userId="b6430d21-8e5e-4d9c-81e9-e1ae515d6d74" providerId="ADAL" clId="{356C853E-D027-4183-864D-1C71215F695F}" dt="2017-12-05T17:59:28.614" v="490" actId="20577"/>
        <pc:sldMkLst>
          <pc:docMk/>
          <pc:sldMk cId="1596498392" sldId="289"/>
        </pc:sldMkLst>
        <pc:spChg chg="mod">
          <ac:chgData name="Andy Roberts" userId="b6430d21-8e5e-4d9c-81e9-e1ae515d6d74" providerId="ADAL" clId="{356C853E-D027-4183-864D-1C71215F695F}" dt="2017-12-05T17:59:28.614" v="490" actId="20577"/>
          <ac:spMkLst>
            <pc:docMk/>
            <pc:sldMk cId="1596498392" sldId="289"/>
            <ac:spMk id="6" creationId="{00000000-0000-0000-0000-000000000000}"/>
          </ac:spMkLst>
        </pc:spChg>
        <pc:spChg chg="mod">
          <ac:chgData name="Andy Roberts" userId="b6430d21-8e5e-4d9c-81e9-e1ae515d6d74" providerId="ADAL" clId="{356C853E-D027-4183-864D-1C71215F695F}" dt="2017-12-05T17:58:12.465" v="467" actId="403"/>
          <ac:spMkLst>
            <pc:docMk/>
            <pc:sldMk cId="1596498392" sldId="289"/>
            <ac:spMk id="8" creationId="{00000000-0000-0000-0000-000000000000}"/>
          </ac:spMkLst>
        </pc:spChg>
      </pc:sldChg>
      <pc:sldChg chg="modSp del">
        <pc:chgData name="Andy Roberts" userId="b6430d21-8e5e-4d9c-81e9-e1ae515d6d74" providerId="ADAL" clId="{356C853E-D027-4183-864D-1C71215F695F}" dt="2017-12-05T18:40:59.627" v="563" actId="2696"/>
        <pc:sldMkLst>
          <pc:docMk/>
          <pc:sldMk cId="758709896" sldId="300"/>
        </pc:sldMkLst>
        <pc:picChg chg="mod">
          <ac:chgData name="Andy Roberts" userId="b6430d21-8e5e-4d9c-81e9-e1ae515d6d74" providerId="ADAL" clId="{356C853E-D027-4183-864D-1C71215F695F}" dt="2017-12-05T18:07:51.332" v="491" actId="1036"/>
          <ac:picMkLst>
            <pc:docMk/>
            <pc:sldMk cId="758709896" sldId="300"/>
            <ac:picMk id="3" creationId="{00000000-0000-0000-0000-000000000000}"/>
          </ac:picMkLst>
        </pc:picChg>
      </pc:sldChg>
      <pc:sldChg chg="modSp ord">
        <pc:chgData name="Andy Roberts" userId="b6430d21-8e5e-4d9c-81e9-e1ae515d6d74" providerId="ADAL" clId="{356C853E-D027-4183-864D-1C71215F695F}" dt="2017-12-05T18:35:37.934" v="544" actId="20577"/>
        <pc:sldMkLst>
          <pc:docMk/>
          <pc:sldMk cId="2447532801" sldId="301"/>
        </pc:sldMkLst>
        <pc:spChg chg="mod">
          <ac:chgData name="Andy Roberts" userId="b6430d21-8e5e-4d9c-81e9-e1ae515d6d74" providerId="ADAL" clId="{356C853E-D027-4183-864D-1C71215F695F}" dt="2017-12-05T18:35:37.934" v="544" actId="20577"/>
          <ac:spMkLst>
            <pc:docMk/>
            <pc:sldMk cId="2447532801" sldId="301"/>
            <ac:spMk id="2" creationId="{00000000-0000-0000-0000-000000000000}"/>
          </ac:spMkLst>
        </pc:spChg>
      </pc:sldChg>
      <pc:sldChg chg="addSp delSp modSp">
        <pc:chgData name="Andy Roberts" userId="b6430d21-8e5e-4d9c-81e9-e1ae515d6d74" providerId="ADAL" clId="{356C853E-D027-4183-864D-1C71215F695F}" dt="2017-12-05T18:45:20.721" v="666" actId="1035"/>
        <pc:sldMkLst>
          <pc:docMk/>
          <pc:sldMk cId="1903712410" sldId="302"/>
        </pc:sldMkLst>
        <pc:spChg chg="add mod">
          <ac:chgData name="Andy Roberts" userId="b6430d21-8e5e-4d9c-81e9-e1ae515d6d74" providerId="ADAL" clId="{356C853E-D027-4183-864D-1C71215F695F}" dt="2017-12-05T18:45:20.721" v="666" actId="1035"/>
          <ac:spMkLst>
            <pc:docMk/>
            <pc:sldMk cId="1903712410" sldId="302"/>
            <ac:spMk id="5" creationId="{F188545D-35B0-4787-8B20-F8CE27110475}"/>
          </ac:spMkLst>
        </pc:spChg>
        <pc:picChg chg="del">
          <ac:chgData name="Andy Roberts" userId="b6430d21-8e5e-4d9c-81e9-e1ae515d6d74" providerId="ADAL" clId="{356C853E-D027-4183-864D-1C71215F695F}" dt="2017-12-05T18:43:44.348" v="564" actId="478"/>
          <ac:picMkLst>
            <pc:docMk/>
            <pc:sldMk cId="1903712410" sldId="302"/>
            <ac:picMk id="2" creationId="{00000000-0000-0000-0000-000000000000}"/>
          </ac:picMkLst>
        </pc:picChg>
        <pc:picChg chg="add mod">
          <ac:chgData name="Andy Roberts" userId="b6430d21-8e5e-4d9c-81e9-e1ae515d6d74" providerId="ADAL" clId="{356C853E-D027-4183-864D-1C71215F695F}" dt="2017-12-05T18:43:47.692" v="566" actId="1076"/>
          <ac:picMkLst>
            <pc:docMk/>
            <pc:sldMk cId="1903712410" sldId="302"/>
            <ac:picMk id="3" creationId="{843F0D72-FEA1-44D8-AFB0-69E3F85340A3}"/>
          </ac:picMkLst>
        </pc:picChg>
      </pc:sldChg>
      <pc:sldChg chg="modSp del">
        <pc:chgData name="Andy Roberts" userId="b6430d21-8e5e-4d9c-81e9-e1ae515d6d74" providerId="ADAL" clId="{356C853E-D027-4183-864D-1C71215F695F}" dt="2017-12-05T17:49:49.177" v="56" actId="2696"/>
        <pc:sldMkLst>
          <pc:docMk/>
          <pc:sldMk cId="132144321" sldId="329"/>
        </pc:sldMkLst>
        <pc:spChg chg="mod">
          <ac:chgData name="Andy Roberts" userId="b6430d21-8e5e-4d9c-81e9-e1ae515d6d74" providerId="ADAL" clId="{356C853E-D027-4183-864D-1C71215F695F}" dt="2017-12-05T17:49:44.429" v="55" actId="5793"/>
          <ac:spMkLst>
            <pc:docMk/>
            <pc:sldMk cId="132144321" sldId="329"/>
            <ac:spMk id="3" creationId="{00000000-0000-0000-0000-000000000000}"/>
          </ac:spMkLst>
        </pc:spChg>
      </pc:sldChg>
      <pc:sldChg chg="del">
        <pc:chgData name="Andy Roberts" userId="b6430d21-8e5e-4d9c-81e9-e1ae515d6d74" providerId="ADAL" clId="{356C853E-D027-4183-864D-1C71215F695F}" dt="2017-12-05T20:24:34.660" v="668" actId="2696"/>
        <pc:sldMkLst>
          <pc:docMk/>
          <pc:sldMk cId="238618026" sldId="331"/>
        </pc:sldMkLst>
      </pc:sldChg>
      <pc:sldChg chg="addSp delSp modSp add setBg">
        <pc:chgData name="Andy Roberts" userId="b6430d21-8e5e-4d9c-81e9-e1ae515d6d74" providerId="ADAL" clId="{356C853E-D027-4183-864D-1C71215F695F}" dt="2017-12-05T18:21:00.691" v="520" actId="2696"/>
        <pc:sldMkLst>
          <pc:docMk/>
          <pc:sldMk cId="3556834676" sldId="336"/>
        </pc:sldMkLst>
        <pc:spChg chg="add del">
          <ac:chgData name="Andy Roberts" userId="b6430d21-8e5e-4d9c-81e9-e1ae515d6d74" providerId="ADAL" clId="{356C853E-D027-4183-864D-1C71215F695F}" dt="2017-12-05T18:19:49.181" v="503" actId="478"/>
          <ac:spMkLst>
            <pc:docMk/>
            <pc:sldMk cId="3556834676" sldId="336"/>
            <ac:spMk id="2" creationId="{B0F80425-F75B-48C2-ADB8-0C0AD9ED5903}"/>
          </ac:spMkLst>
        </pc:spChg>
        <pc:spChg chg="add del">
          <ac:chgData name="Andy Roberts" userId="b6430d21-8e5e-4d9c-81e9-e1ae515d6d74" providerId="ADAL" clId="{356C853E-D027-4183-864D-1C71215F695F}" dt="2017-12-05T18:20:09.924" v="513" actId="478"/>
          <ac:spMkLst>
            <pc:docMk/>
            <pc:sldMk cId="3556834676" sldId="336"/>
            <ac:spMk id="3" creationId="{B4AFD6DE-A484-4CB3-A942-A58DCDBAF47C}"/>
          </ac:spMkLst>
        </pc:spChg>
        <pc:spChg chg="add">
          <ac:chgData name="Andy Roberts" userId="b6430d21-8e5e-4d9c-81e9-e1ae515d6d74" providerId="ADAL" clId="{356C853E-D027-4183-864D-1C71215F695F}" dt="2017-12-05T18:19:09.011" v="493" actId="2696"/>
          <ac:spMkLst>
            <pc:docMk/>
            <pc:sldMk cId="3556834676" sldId="336"/>
            <ac:spMk id="4" creationId="{6C35B4F6-96AD-407F-9ED4-FE80BA1D9C64}"/>
          </ac:spMkLst>
        </pc:spChg>
        <pc:spChg chg="add">
          <ac:chgData name="Andy Roberts" userId="b6430d21-8e5e-4d9c-81e9-e1ae515d6d74" providerId="ADAL" clId="{356C853E-D027-4183-864D-1C71215F695F}" dt="2017-12-05T18:19:09.011" v="493" actId="2696"/>
          <ac:spMkLst>
            <pc:docMk/>
            <pc:sldMk cId="3556834676" sldId="336"/>
            <ac:spMk id="5" creationId="{B686D988-5FFA-423D-BFBF-740335CC68D5}"/>
          </ac:spMkLst>
        </pc:spChg>
        <pc:spChg chg="add">
          <ac:chgData name="Andy Roberts" userId="b6430d21-8e5e-4d9c-81e9-e1ae515d6d74" providerId="ADAL" clId="{356C853E-D027-4183-864D-1C71215F695F}" dt="2017-12-05T18:19:09.011" v="493" actId="2696"/>
          <ac:spMkLst>
            <pc:docMk/>
            <pc:sldMk cId="3556834676" sldId="336"/>
            <ac:spMk id="7" creationId="{18224B81-93D2-450C-9FB5-F7D70C6C2D0B}"/>
          </ac:spMkLst>
        </pc:spChg>
        <pc:spChg chg="add">
          <ac:chgData name="Andy Roberts" userId="b6430d21-8e5e-4d9c-81e9-e1ae515d6d74" providerId="ADAL" clId="{356C853E-D027-4183-864D-1C71215F695F}" dt="2017-12-05T18:19:09.011" v="493" actId="2696"/>
          <ac:spMkLst>
            <pc:docMk/>
            <pc:sldMk cId="3556834676" sldId="336"/>
            <ac:spMk id="8" creationId="{DDDD5926-393E-4D90-B79E-3EC2BC847459}"/>
          </ac:spMkLst>
        </pc:spChg>
        <pc:spChg chg="add">
          <ac:chgData name="Andy Roberts" userId="b6430d21-8e5e-4d9c-81e9-e1ae515d6d74" providerId="ADAL" clId="{356C853E-D027-4183-864D-1C71215F695F}" dt="2017-12-05T18:19:09.011" v="493" actId="2696"/>
          <ac:spMkLst>
            <pc:docMk/>
            <pc:sldMk cId="3556834676" sldId="336"/>
            <ac:spMk id="9" creationId="{A7692951-746E-48FB-8F6F-AF768DAAF0E3}"/>
          </ac:spMkLst>
        </pc:spChg>
        <pc:spChg chg="add">
          <ac:chgData name="Andy Roberts" userId="b6430d21-8e5e-4d9c-81e9-e1ae515d6d74" providerId="ADAL" clId="{356C853E-D027-4183-864D-1C71215F695F}" dt="2017-12-05T18:19:09.011" v="493" actId="2696"/>
          <ac:spMkLst>
            <pc:docMk/>
            <pc:sldMk cId="3556834676" sldId="336"/>
            <ac:spMk id="10" creationId="{83ECCC2A-7403-488E-9BCB-BEDFEFC56F8F}"/>
          </ac:spMkLst>
        </pc:spChg>
        <pc:spChg chg="add">
          <ac:chgData name="Andy Roberts" userId="b6430d21-8e5e-4d9c-81e9-e1ae515d6d74" providerId="ADAL" clId="{356C853E-D027-4183-864D-1C71215F695F}" dt="2017-12-05T18:19:09.011" v="493" actId="2696"/>
          <ac:spMkLst>
            <pc:docMk/>
            <pc:sldMk cId="3556834676" sldId="336"/>
            <ac:spMk id="11" creationId="{EF9CAAE9-4C22-4E3E-A762-6B060BCEFF46}"/>
          </ac:spMkLst>
        </pc:spChg>
        <pc:spChg chg="add">
          <ac:chgData name="Andy Roberts" userId="b6430d21-8e5e-4d9c-81e9-e1ae515d6d74" providerId="ADAL" clId="{356C853E-D027-4183-864D-1C71215F695F}" dt="2017-12-05T18:19:09.011" v="493" actId="2696"/>
          <ac:spMkLst>
            <pc:docMk/>
            <pc:sldMk cId="3556834676" sldId="336"/>
            <ac:spMk id="12" creationId="{1B51C01C-1366-4B18-93D7-D206D80335FB}"/>
          </ac:spMkLst>
        </pc:spChg>
        <pc:spChg chg="add">
          <ac:chgData name="Andy Roberts" userId="b6430d21-8e5e-4d9c-81e9-e1ae515d6d74" providerId="ADAL" clId="{356C853E-D027-4183-864D-1C71215F695F}" dt="2017-12-05T18:19:09.011" v="493" actId="2696"/>
          <ac:spMkLst>
            <pc:docMk/>
            <pc:sldMk cId="3556834676" sldId="336"/>
            <ac:spMk id="13" creationId="{20C58F73-3B12-46DD-BC29-B33017BB48CD}"/>
          </ac:spMkLst>
        </pc:spChg>
        <pc:spChg chg="add">
          <ac:chgData name="Andy Roberts" userId="b6430d21-8e5e-4d9c-81e9-e1ae515d6d74" providerId="ADAL" clId="{356C853E-D027-4183-864D-1C71215F695F}" dt="2017-12-05T18:19:09.011" v="493" actId="2696"/>
          <ac:spMkLst>
            <pc:docMk/>
            <pc:sldMk cId="3556834676" sldId="336"/>
            <ac:spMk id="14" creationId="{6AD4D429-AFB9-4B48-9E13-FA39AAD98CE4}"/>
          </ac:spMkLst>
        </pc:spChg>
        <pc:spChg chg="add">
          <ac:chgData name="Andy Roberts" userId="b6430d21-8e5e-4d9c-81e9-e1ae515d6d74" providerId="ADAL" clId="{356C853E-D027-4183-864D-1C71215F695F}" dt="2017-12-05T18:19:09.011" v="493" actId="2696"/>
          <ac:spMkLst>
            <pc:docMk/>
            <pc:sldMk cId="3556834676" sldId="336"/>
            <ac:spMk id="15" creationId="{700E9F43-AAA4-487E-B8CE-739E8A7B31DD}"/>
          </ac:spMkLst>
        </pc:spChg>
        <pc:spChg chg="add">
          <ac:chgData name="Andy Roberts" userId="b6430d21-8e5e-4d9c-81e9-e1ae515d6d74" providerId="ADAL" clId="{356C853E-D027-4183-864D-1C71215F695F}" dt="2017-12-05T18:19:09.011" v="493" actId="2696"/>
          <ac:spMkLst>
            <pc:docMk/>
            <pc:sldMk cId="3556834676" sldId="336"/>
            <ac:spMk id="16" creationId="{F48CB2A0-2248-4372-A2B5-4585558BF7FD}"/>
          </ac:spMkLst>
        </pc:spChg>
        <pc:spChg chg="add">
          <ac:chgData name="Andy Roberts" userId="b6430d21-8e5e-4d9c-81e9-e1ae515d6d74" providerId="ADAL" clId="{356C853E-D027-4183-864D-1C71215F695F}" dt="2017-12-05T18:19:09.011" v="493" actId="2696"/>
          <ac:spMkLst>
            <pc:docMk/>
            <pc:sldMk cId="3556834676" sldId="336"/>
            <ac:spMk id="20" creationId="{93321075-BEB6-47D8-8A55-B493A5BD659F}"/>
          </ac:spMkLst>
        </pc:spChg>
        <pc:spChg chg="add">
          <ac:chgData name="Andy Roberts" userId="b6430d21-8e5e-4d9c-81e9-e1ae515d6d74" providerId="ADAL" clId="{356C853E-D027-4183-864D-1C71215F695F}" dt="2017-12-05T18:19:09.011" v="493" actId="2696"/>
          <ac:spMkLst>
            <pc:docMk/>
            <pc:sldMk cId="3556834676" sldId="336"/>
            <ac:spMk id="21" creationId="{9DCD8F72-325D-4646-B0B5-9F4587694FD5}"/>
          </ac:spMkLst>
        </pc:spChg>
        <pc:spChg chg="add">
          <ac:chgData name="Andy Roberts" userId="b6430d21-8e5e-4d9c-81e9-e1ae515d6d74" providerId="ADAL" clId="{356C853E-D027-4183-864D-1C71215F695F}" dt="2017-12-05T18:19:09.011" v="493" actId="2696"/>
          <ac:spMkLst>
            <pc:docMk/>
            <pc:sldMk cId="3556834676" sldId="336"/>
            <ac:spMk id="22" creationId="{2F5BDC89-E460-48EA-AB42-8898CCE9F0CB}"/>
          </ac:spMkLst>
        </pc:spChg>
        <pc:spChg chg="add">
          <ac:chgData name="Andy Roberts" userId="b6430d21-8e5e-4d9c-81e9-e1ae515d6d74" providerId="ADAL" clId="{356C853E-D027-4183-864D-1C71215F695F}" dt="2017-12-05T18:19:09.011" v="493" actId="2696"/>
          <ac:spMkLst>
            <pc:docMk/>
            <pc:sldMk cId="3556834676" sldId="336"/>
            <ac:spMk id="23" creationId="{2359EDE9-A2EC-438A-8DD8-7612FC94C1AC}"/>
          </ac:spMkLst>
        </pc:spChg>
        <pc:spChg chg="add">
          <ac:chgData name="Andy Roberts" userId="b6430d21-8e5e-4d9c-81e9-e1ae515d6d74" providerId="ADAL" clId="{356C853E-D027-4183-864D-1C71215F695F}" dt="2017-12-05T18:19:09.011" v="493" actId="2696"/>
          <ac:spMkLst>
            <pc:docMk/>
            <pc:sldMk cId="3556834676" sldId="336"/>
            <ac:spMk id="24" creationId="{8B01729E-285C-488A-8F05-C60C9E9428C2}"/>
          </ac:spMkLst>
        </pc:spChg>
        <pc:spChg chg="add">
          <ac:chgData name="Andy Roberts" userId="b6430d21-8e5e-4d9c-81e9-e1ae515d6d74" providerId="ADAL" clId="{356C853E-D027-4183-864D-1C71215F695F}" dt="2017-12-05T18:19:09.011" v="493" actId="2696"/>
          <ac:spMkLst>
            <pc:docMk/>
            <pc:sldMk cId="3556834676" sldId="336"/>
            <ac:spMk id="25" creationId="{0D3C8F75-C0C6-46A7-BCAF-F273816BBB7E}"/>
          </ac:spMkLst>
        </pc:spChg>
        <pc:spChg chg="add">
          <ac:chgData name="Andy Roberts" userId="b6430d21-8e5e-4d9c-81e9-e1ae515d6d74" providerId="ADAL" clId="{356C853E-D027-4183-864D-1C71215F695F}" dt="2017-12-05T18:19:09.011" v="493" actId="2696"/>
          <ac:spMkLst>
            <pc:docMk/>
            <pc:sldMk cId="3556834676" sldId="336"/>
            <ac:spMk id="26" creationId="{587989CD-2066-4169-973A-92EE8A3DD9A7}"/>
          </ac:spMkLst>
        </pc:spChg>
        <pc:spChg chg="add">
          <ac:chgData name="Andy Roberts" userId="b6430d21-8e5e-4d9c-81e9-e1ae515d6d74" providerId="ADAL" clId="{356C853E-D027-4183-864D-1C71215F695F}" dt="2017-12-05T18:19:09.011" v="493" actId="2696"/>
          <ac:spMkLst>
            <pc:docMk/>
            <pc:sldMk cId="3556834676" sldId="336"/>
            <ac:spMk id="27" creationId="{E5AB8A59-6B15-48F5-9C32-B87464DD4770}"/>
          </ac:spMkLst>
        </pc:spChg>
        <pc:spChg chg="add">
          <ac:chgData name="Andy Roberts" userId="b6430d21-8e5e-4d9c-81e9-e1ae515d6d74" providerId="ADAL" clId="{356C853E-D027-4183-864D-1C71215F695F}" dt="2017-12-05T18:19:09.011" v="493" actId="2696"/>
          <ac:spMkLst>
            <pc:docMk/>
            <pc:sldMk cId="3556834676" sldId="336"/>
            <ac:spMk id="28" creationId="{ED608E92-307F-4EA1-A72A-5A8D18C47844}"/>
          </ac:spMkLst>
        </pc:spChg>
        <pc:spChg chg="add">
          <ac:chgData name="Andy Roberts" userId="b6430d21-8e5e-4d9c-81e9-e1ae515d6d74" providerId="ADAL" clId="{356C853E-D027-4183-864D-1C71215F695F}" dt="2017-12-05T18:19:09.011" v="493" actId="2696"/>
          <ac:spMkLst>
            <pc:docMk/>
            <pc:sldMk cId="3556834676" sldId="336"/>
            <ac:spMk id="29" creationId="{F092A1CC-2399-4656-BEC8-E877055D808F}"/>
          </ac:spMkLst>
        </pc:spChg>
        <pc:spChg chg="add">
          <ac:chgData name="Andy Roberts" userId="b6430d21-8e5e-4d9c-81e9-e1ae515d6d74" providerId="ADAL" clId="{356C853E-D027-4183-864D-1C71215F695F}" dt="2017-12-05T18:19:09.011" v="493" actId="2696"/>
          <ac:spMkLst>
            <pc:docMk/>
            <pc:sldMk cId="3556834676" sldId="336"/>
            <ac:spMk id="35" creationId="{BE53225C-376A-4A18-A0A7-585AB45F69A4}"/>
          </ac:spMkLst>
        </pc:spChg>
        <pc:spChg chg="add">
          <ac:chgData name="Andy Roberts" userId="b6430d21-8e5e-4d9c-81e9-e1ae515d6d74" providerId="ADAL" clId="{356C853E-D027-4183-864D-1C71215F695F}" dt="2017-12-05T18:19:09.011" v="493" actId="2696"/>
          <ac:spMkLst>
            <pc:docMk/>
            <pc:sldMk cId="3556834676" sldId="336"/>
            <ac:spMk id="36" creationId="{F0AE4B68-1E94-4BBC-B3A0-6916C645DCAD}"/>
          </ac:spMkLst>
        </pc:spChg>
        <pc:spChg chg="add">
          <ac:chgData name="Andy Roberts" userId="b6430d21-8e5e-4d9c-81e9-e1ae515d6d74" providerId="ADAL" clId="{356C853E-D027-4183-864D-1C71215F695F}" dt="2017-12-05T18:19:09.011" v="493" actId="2696"/>
          <ac:spMkLst>
            <pc:docMk/>
            <pc:sldMk cId="3556834676" sldId="336"/>
            <ac:spMk id="38" creationId="{0EC88A79-D665-4E8D-820B-943C63955BA6}"/>
          </ac:spMkLst>
        </pc:spChg>
        <pc:spChg chg="add">
          <ac:chgData name="Andy Roberts" userId="b6430d21-8e5e-4d9c-81e9-e1ae515d6d74" providerId="ADAL" clId="{356C853E-D027-4183-864D-1C71215F695F}" dt="2017-12-05T18:19:09.011" v="493" actId="2696"/>
          <ac:spMkLst>
            <pc:docMk/>
            <pc:sldMk cId="3556834676" sldId="336"/>
            <ac:spMk id="49" creationId="{E4E94BFA-9022-4173-A2DB-3907D226BDE7}"/>
          </ac:spMkLst>
        </pc:spChg>
        <pc:spChg chg="add">
          <ac:chgData name="Andy Roberts" userId="b6430d21-8e5e-4d9c-81e9-e1ae515d6d74" providerId="ADAL" clId="{356C853E-D027-4183-864D-1C71215F695F}" dt="2017-12-05T18:19:09.011" v="493" actId="2696"/>
          <ac:spMkLst>
            <pc:docMk/>
            <pc:sldMk cId="3556834676" sldId="336"/>
            <ac:spMk id="50" creationId="{716AA5EC-383E-466C-B53A-24B478E00566}"/>
          </ac:spMkLst>
        </pc:spChg>
        <pc:spChg chg="add">
          <ac:chgData name="Andy Roberts" userId="b6430d21-8e5e-4d9c-81e9-e1ae515d6d74" providerId="ADAL" clId="{356C853E-D027-4183-864D-1C71215F695F}" dt="2017-12-05T18:19:09.011" v="493" actId="2696"/>
          <ac:spMkLst>
            <pc:docMk/>
            <pc:sldMk cId="3556834676" sldId="336"/>
            <ac:spMk id="51" creationId="{FDA94A28-2B10-462A-A4B7-C17F7564ECBD}"/>
          </ac:spMkLst>
        </pc:spChg>
        <pc:spChg chg="add">
          <ac:chgData name="Andy Roberts" userId="b6430d21-8e5e-4d9c-81e9-e1ae515d6d74" providerId="ADAL" clId="{356C853E-D027-4183-864D-1C71215F695F}" dt="2017-12-05T18:19:09.011" v="493" actId="2696"/>
          <ac:spMkLst>
            <pc:docMk/>
            <pc:sldMk cId="3556834676" sldId="336"/>
            <ac:spMk id="52" creationId="{A6F6276C-18AC-413B-9269-0016A2ED8729}"/>
          </ac:spMkLst>
        </pc:spChg>
        <pc:spChg chg="add">
          <ac:chgData name="Andy Roberts" userId="b6430d21-8e5e-4d9c-81e9-e1ae515d6d74" providerId="ADAL" clId="{356C853E-D027-4183-864D-1C71215F695F}" dt="2017-12-05T18:19:09.011" v="493" actId="2696"/>
          <ac:spMkLst>
            <pc:docMk/>
            <pc:sldMk cId="3556834676" sldId="336"/>
            <ac:spMk id="53" creationId="{184C30E0-D6C8-43A3-8E4C-4661B903E89F}"/>
          </ac:spMkLst>
        </pc:spChg>
        <pc:spChg chg="add">
          <ac:chgData name="Andy Roberts" userId="b6430d21-8e5e-4d9c-81e9-e1ae515d6d74" providerId="ADAL" clId="{356C853E-D027-4183-864D-1C71215F695F}" dt="2017-12-05T18:19:09.011" v="493" actId="2696"/>
          <ac:spMkLst>
            <pc:docMk/>
            <pc:sldMk cId="3556834676" sldId="336"/>
            <ac:spMk id="54" creationId="{4BBD3791-8653-4DEB-9002-6A43ACD276E9}"/>
          </ac:spMkLst>
        </pc:spChg>
        <pc:spChg chg="add">
          <ac:chgData name="Andy Roberts" userId="b6430d21-8e5e-4d9c-81e9-e1ae515d6d74" providerId="ADAL" clId="{356C853E-D027-4183-864D-1C71215F695F}" dt="2017-12-05T18:19:09.011" v="493" actId="2696"/>
          <ac:spMkLst>
            <pc:docMk/>
            <pc:sldMk cId="3556834676" sldId="336"/>
            <ac:spMk id="55" creationId="{C8BB6E81-0259-4A90-8E23-06376540FBD5}"/>
          </ac:spMkLst>
        </pc:spChg>
        <pc:spChg chg="add">
          <ac:chgData name="Andy Roberts" userId="b6430d21-8e5e-4d9c-81e9-e1ae515d6d74" providerId="ADAL" clId="{356C853E-D027-4183-864D-1C71215F695F}" dt="2017-12-05T18:19:09.011" v="493" actId="2696"/>
          <ac:spMkLst>
            <pc:docMk/>
            <pc:sldMk cId="3556834676" sldId="336"/>
            <ac:spMk id="56" creationId="{D8432C93-5393-44F2-89FE-18D1C8AC49E6}"/>
          </ac:spMkLst>
        </pc:spChg>
        <pc:spChg chg="add">
          <ac:chgData name="Andy Roberts" userId="b6430d21-8e5e-4d9c-81e9-e1ae515d6d74" providerId="ADAL" clId="{356C853E-D027-4183-864D-1C71215F695F}" dt="2017-12-05T18:19:09.011" v="493" actId="2696"/>
          <ac:spMkLst>
            <pc:docMk/>
            <pc:sldMk cId="3556834676" sldId="336"/>
            <ac:spMk id="57" creationId="{74B4EA5E-939D-4B63-A906-3BFB9999E463}"/>
          </ac:spMkLst>
        </pc:spChg>
        <pc:spChg chg="add">
          <ac:chgData name="Andy Roberts" userId="b6430d21-8e5e-4d9c-81e9-e1ae515d6d74" providerId="ADAL" clId="{356C853E-D027-4183-864D-1C71215F695F}" dt="2017-12-05T18:19:09.011" v="493" actId="2696"/>
          <ac:spMkLst>
            <pc:docMk/>
            <pc:sldMk cId="3556834676" sldId="336"/>
            <ac:spMk id="58" creationId="{2A113380-E788-4E12-9115-4BDB37147292}"/>
          </ac:spMkLst>
        </pc:spChg>
        <pc:spChg chg="add">
          <ac:chgData name="Andy Roberts" userId="b6430d21-8e5e-4d9c-81e9-e1ae515d6d74" providerId="ADAL" clId="{356C853E-D027-4183-864D-1C71215F695F}" dt="2017-12-05T18:19:09.011" v="493" actId="2696"/>
          <ac:spMkLst>
            <pc:docMk/>
            <pc:sldMk cId="3556834676" sldId="336"/>
            <ac:spMk id="59" creationId="{103545C7-9113-44F9-AE9E-AEBE726E6866}"/>
          </ac:spMkLst>
        </pc:spChg>
        <pc:spChg chg="add">
          <ac:chgData name="Andy Roberts" userId="b6430d21-8e5e-4d9c-81e9-e1ae515d6d74" providerId="ADAL" clId="{356C853E-D027-4183-864D-1C71215F695F}" dt="2017-12-05T18:19:09.011" v="493" actId="2696"/>
          <ac:spMkLst>
            <pc:docMk/>
            <pc:sldMk cId="3556834676" sldId="336"/>
            <ac:spMk id="60" creationId="{43E53CD6-2F81-41B9-A053-75641AFAE741}"/>
          </ac:spMkLst>
        </pc:spChg>
        <pc:spChg chg="add">
          <ac:chgData name="Andy Roberts" userId="b6430d21-8e5e-4d9c-81e9-e1ae515d6d74" providerId="ADAL" clId="{356C853E-D027-4183-864D-1C71215F695F}" dt="2017-12-05T18:19:09.011" v="493" actId="2696"/>
          <ac:spMkLst>
            <pc:docMk/>
            <pc:sldMk cId="3556834676" sldId="336"/>
            <ac:spMk id="61" creationId="{7EE4FEB2-A868-49B0-887F-934D6159C695}"/>
          </ac:spMkLst>
        </pc:spChg>
        <pc:spChg chg="add">
          <ac:chgData name="Andy Roberts" userId="b6430d21-8e5e-4d9c-81e9-e1ae515d6d74" providerId="ADAL" clId="{356C853E-D027-4183-864D-1C71215F695F}" dt="2017-12-05T18:19:09.011" v="493" actId="2696"/>
          <ac:spMkLst>
            <pc:docMk/>
            <pc:sldMk cId="3556834676" sldId="336"/>
            <ac:spMk id="62" creationId="{650D4AAA-8974-4FCF-81B7-9FB705C35DD9}"/>
          </ac:spMkLst>
        </pc:spChg>
        <pc:spChg chg="add">
          <ac:chgData name="Andy Roberts" userId="b6430d21-8e5e-4d9c-81e9-e1ae515d6d74" providerId="ADAL" clId="{356C853E-D027-4183-864D-1C71215F695F}" dt="2017-12-05T18:19:09.011" v="493" actId="2696"/>
          <ac:spMkLst>
            <pc:docMk/>
            <pc:sldMk cId="3556834676" sldId="336"/>
            <ac:spMk id="63" creationId="{3150AF62-4EB9-4A9A-8931-FB19B4731F2C}"/>
          </ac:spMkLst>
        </pc:spChg>
        <pc:spChg chg="add">
          <ac:chgData name="Andy Roberts" userId="b6430d21-8e5e-4d9c-81e9-e1ae515d6d74" providerId="ADAL" clId="{356C853E-D027-4183-864D-1C71215F695F}" dt="2017-12-05T18:19:09.011" v="493" actId="2696"/>
          <ac:spMkLst>
            <pc:docMk/>
            <pc:sldMk cId="3556834676" sldId="336"/>
            <ac:spMk id="64" creationId="{1FE044EE-D7C5-4F88-BE97-5BAAB4B3E6F9}"/>
          </ac:spMkLst>
        </pc:spChg>
        <pc:spChg chg="add">
          <ac:chgData name="Andy Roberts" userId="b6430d21-8e5e-4d9c-81e9-e1ae515d6d74" providerId="ADAL" clId="{356C853E-D027-4183-864D-1C71215F695F}" dt="2017-12-05T18:19:09.011" v="493" actId="2696"/>
          <ac:spMkLst>
            <pc:docMk/>
            <pc:sldMk cId="3556834676" sldId="336"/>
            <ac:spMk id="65" creationId="{A3C8C7EC-9E2C-483D-AA38-71C0042AD970}"/>
          </ac:spMkLst>
        </pc:spChg>
        <pc:spChg chg="add">
          <ac:chgData name="Andy Roberts" userId="b6430d21-8e5e-4d9c-81e9-e1ae515d6d74" providerId="ADAL" clId="{356C853E-D027-4183-864D-1C71215F695F}" dt="2017-12-05T18:19:09.011" v="493" actId="2696"/>
          <ac:spMkLst>
            <pc:docMk/>
            <pc:sldMk cId="3556834676" sldId="336"/>
            <ac:spMk id="66" creationId="{BB38903B-A350-4843-A21E-934D71166229}"/>
          </ac:spMkLst>
        </pc:spChg>
        <pc:spChg chg="add">
          <ac:chgData name="Andy Roberts" userId="b6430d21-8e5e-4d9c-81e9-e1ae515d6d74" providerId="ADAL" clId="{356C853E-D027-4183-864D-1C71215F695F}" dt="2017-12-05T18:19:09.011" v="493" actId="2696"/>
          <ac:spMkLst>
            <pc:docMk/>
            <pc:sldMk cId="3556834676" sldId="336"/>
            <ac:spMk id="67" creationId="{7468F515-0D2C-4BA7-B770-B91B0BAAE9CB}"/>
          </ac:spMkLst>
        </pc:spChg>
        <pc:spChg chg="add">
          <ac:chgData name="Andy Roberts" userId="b6430d21-8e5e-4d9c-81e9-e1ae515d6d74" providerId="ADAL" clId="{356C853E-D027-4183-864D-1C71215F695F}" dt="2017-12-05T18:19:09.011" v="493" actId="2696"/>
          <ac:spMkLst>
            <pc:docMk/>
            <pc:sldMk cId="3556834676" sldId="336"/>
            <ac:spMk id="68" creationId="{4989860C-F89B-4C04-B4B0-06CAE387E04B}"/>
          </ac:spMkLst>
        </pc:spChg>
        <pc:spChg chg="add">
          <ac:chgData name="Andy Roberts" userId="b6430d21-8e5e-4d9c-81e9-e1ae515d6d74" providerId="ADAL" clId="{356C853E-D027-4183-864D-1C71215F695F}" dt="2017-12-05T18:19:09.011" v="493" actId="2696"/>
          <ac:spMkLst>
            <pc:docMk/>
            <pc:sldMk cId="3556834676" sldId="336"/>
            <ac:spMk id="69" creationId="{C445FB8B-FF74-4F40-A0CF-A9AABEBA52F4}"/>
          </ac:spMkLst>
        </pc:spChg>
        <pc:spChg chg="add">
          <ac:chgData name="Andy Roberts" userId="b6430d21-8e5e-4d9c-81e9-e1ae515d6d74" providerId="ADAL" clId="{356C853E-D027-4183-864D-1C71215F695F}" dt="2017-12-05T18:19:09.011" v="493" actId="2696"/>
          <ac:spMkLst>
            <pc:docMk/>
            <pc:sldMk cId="3556834676" sldId="336"/>
            <ac:spMk id="70" creationId="{5D65E34F-F0CB-4056-8EC2-F2A12DA70D07}"/>
          </ac:spMkLst>
        </pc:spChg>
        <pc:spChg chg="add">
          <ac:chgData name="Andy Roberts" userId="b6430d21-8e5e-4d9c-81e9-e1ae515d6d74" providerId="ADAL" clId="{356C853E-D027-4183-864D-1C71215F695F}" dt="2017-12-05T18:19:09.011" v="493" actId="2696"/>
          <ac:spMkLst>
            <pc:docMk/>
            <pc:sldMk cId="3556834676" sldId="336"/>
            <ac:spMk id="71" creationId="{D7E84DD2-14AC-44F3-901B-E73D78B0619A}"/>
          </ac:spMkLst>
        </pc:spChg>
        <pc:spChg chg="add">
          <ac:chgData name="Andy Roberts" userId="b6430d21-8e5e-4d9c-81e9-e1ae515d6d74" providerId="ADAL" clId="{356C853E-D027-4183-864D-1C71215F695F}" dt="2017-12-05T18:19:09.011" v="493" actId="2696"/>
          <ac:spMkLst>
            <pc:docMk/>
            <pc:sldMk cId="3556834676" sldId="336"/>
            <ac:spMk id="72" creationId="{36998188-C687-4917-8D46-315EC1B6D0DC}"/>
          </ac:spMkLst>
        </pc:spChg>
        <pc:spChg chg="add">
          <ac:chgData name="Andy Roberts" userId="b6430d21-8e5e-4d9c-81e9-e1ae515d6d74" providerId="ADAL" clId="{356C853E-D027-4183-864D-1C71215F695F}" dt="2017-12-05T18:19:09.011" v="493" actId="2696"/>
          <ac:spMkLst>
            <pc:docMk/>
            <pc:sldMk cId="3556834676" sldId="336"/>
            <ac:spMk id="73" creationId="{C62F4413-151D-4EE4-B3E1-729C2A8A147D}"/>
          </ac:spMkLst>
        </pc:spChg>
        <pc:spChg chg="add">
          <ac:chgData name="Andy Roberts" userId="b6430d21-8e5e-4d9c-81e9-e1ae515d6d74" providerId="ADAL" clId="{356C853E-D027-4183-864D-1C71215F695F}" dt="2017-12-05T18:19:09.011" v="493" actId="2696"/>
          <ac:spMkLst>
            <pc:docMk/>
            <pc:sldMk cId="3556834676" sldId="336"/>
            <ac:spMk id="74" creationId="{F3511110-CDBB-4DD8-A4DD-5F4C6DEA9D57}"/>
          </ac:spMkLst>
        </pc:spChg>
        <pc:spChg chg="add">
          <ac:chgData name="Andy Roberts" userId="b6430d21-8e5e-4d9c-81e9-e1ae515d6d74" providerId="ADAL" clId="{356C853E-D027-4183-864D-1C71215F695F}" dt="2017-12-05T18:19:09.011" v="493" actId="2696"/>
          <ac:spMkLst>
            <pc:docMk/>
            <pc:sldMk cId="3556834676" sldId="336"/>
            <ac:spMk id="75" creationId="{2756EA85-0753-44A5-9808-BDD565D1E5F5}"/>
          </ac:spMkLst>
        </pc:spChg>
        <pc:spChg chg="add">
          <ac:chgData name="Andy Roberts" userId="b6430d21-8e5e-4d9c-81e9-e1ae515d6d74" providerId="ADAL" clId="{356C853E-D027-4183-864D-1C71215F695F}" dt="2017-12-05T18:19:09.011" v="493" actId="2696"/>
          <ac:spMkLst>
            <pc:docMk/>
            <pc:sldMk cId="3556834676" sldId="336"/>
            <ac:spMk id="76" creationId="{23174FAE-22C1-4687-AC9C-A1F378A6D450}"/>
          </ac:spMkLst>
        </pc:spChg>
        <pc:spChg chg="add">
          <ac:chgData name="Andy Roberts" userId="b6430d21-8e5e-4d9c-81e9-e1ae515d6d74" providerId="ADAL" clId="{356C853E-D027-4183-864D-1C71215F695F}" dt="2017-12-05T18:19:09.011" v="493" actId="2696"/>
          <ac:spMkLst>
            <pc:docMk/>
            <pc:sldMk cId="3556834676" sldId="336"/>
            <ac:spMk id="77" creationId="{48C1230F-9994-43D7-A2F6-421452EC5013}"/>
          </ac:spMkLst>
        </pc:spChg>
        <pc:spChg chg="add">
          <ac:chgData name="Andy Roberts" userId="b6430d21-8e5e-4d9c-81e9-e1ae515d6d74" providerId="ADAL" clId="{356C853E-D027-4183-864D-1C71215F695F}" dt="2017-12-05T18:19:09.011" v="493" actId="2696"/>
          <ac:spMkLst>
            <pc:docMk/>
            <pc:sldMk cId="3556834676" sldId="336"/>
            <ac:spMk id="78" creationId="{E5642198-16C7-4D16-93A9-B660DC1656E0}"/>
          </ac:spMkLst>
        </pc:spChg>
        <pc:spChg chg="add">
          <ac:chgData name="Andy Roberts" userId="b6430d21-8e5e-4d9c-81e9-e1ae515d6d74" providerId="ADAL" clId="{356C853E-D027-4183-864D-1C71215F695F}" dt="2017-12-05T18:19:09.011" v="493" actId="2696"/>
          <ac:spMkLst>
            <pc:docMk/>
            <pc:sldMk cId="3556834676" sldId="336"/>
            <ac:spMk id="79" creationId="{E6B59925-7E65-42C2-A31A-4BE5E57925B3}"/>
          </ac:spMkLst>
        </pc:spChg>
        <pc:spChg chg="add">
          <ac:chgData name="Andy Roberts" userId="b6430d21-8e5e-4d9c-81e9-e1ae515d6d74" providerId="ADAL" clId="{356C853E-D027-4183-864D-1C71215F695F}" dt="2017-12-05T18:19:09.011" v="493" actId="2696"/>
          <ac:spMkLst>
            <pc:docMk/>
            <pc:sldMk cId="3556834676" sldId="336"/>
            <ac:spMk id="80" creationId="{BB0DD6F0-76CB-4BC4-8270-0D3955BEFEDA}"/>
          </ac:spMkLst>
        </pc:spChg>
        <pc:spChg chg="add">
          <ac:chgData name="Andy Roberts" userId="b6430d21-8e5e-4d9c-81e9-e1ae515d6d74" providerId="ADAL" clId="{356C853E-D027-4183-864D-1C71215F695F}" dt="2017-12-05T18:19:09.011" v="493" actId="2696"/>
          <ac:spMkLst>
            <pc:docMk/>
            <pc:sldMk cId="3556834676" sldId="336"/>
            <ac:spMk id="81" creationId="{BC72A887-EE5A-4270-AB25-4773F74D2E88}"/>
          </ac:spMkLst>
        </pc:spChg>
        <pc:spChg chg="add">
          <ac:chgData name="Andy Roberts" userId="b6430d21-8e5e-4d9c-81e9-e1ae515d6d74" providerId="ADAL" clId="{356C853E-D027-4183-864D-1C71215F695F}" dt="2017-12-05T18:19:09.011" v="493" actId="2696"/>
          <ac:spMkLst>
            <pc:docMk/>
            <pc:sldMk cId="3556834676" sldId="336"/>
            <ac:spMk id="82" creationId="{8A058C46-07AB-4BEA-9D65-F7FCC377F876}"/>
          </ac:spMkLst>
        </pc:spChg>
        <pc:spChg chg="add">
          <ac:chgData name="Andy Roberts" userId="b6430d21-8e5e-4d9c-81e9-e1ae515d6d74" providerId="ADAL" clId="{356C853E-D027-4183-864D-1C71215F695F}" dt="2017-12-05T18:19:09.011" v="493" actId="2696"/>
          <ac:spMkLst>
            <pc:docMk/>
            <pc:sldMk cId="3556834676" sldId="336"/>
            <ac:spMk id="83" creationId="{7D943320-2A5F-4A9F-A2C7-7FA58E1D040D}"/>
          </ac:spMkLst>
        </pc:spChg>
        <pc:spChg chg="add">
          <ac:chgData name="Andy Roberts" userId="b6430d21-8e5e-4d9c-81e9-e1ae515d6d74" providerId="ADAL" clId="{356C853E-D027-4183-864D-1C71215F695F}" dt="2017-12-05T18:19:09.011" v="493" actId="2696"/>
          <ac:spMkLst>
            <pc:docMk/>
            <pc:sldMk cId="3556834676" sldId="336"/>
            <ac:spMk id="84" creationId="{85F36A8E-DBFC-4B63-99EB-098DC530BCDE}"/>
          </ac:spMkLst>
        </pc:spChg>
        <pc:spChg chg="add">
          <ac:chgData name="Andy Roberts" userId="b6430d21-8e5e-4d9c-81e9-e1ae515d6d74" providerId="ADAL" clId="{356C853E-D027-4183-864D-1C71215F695F}" dt="2017-12-05T18:19:09.011" v="493" actId="2696"/>
          <ac:spMkLst>
            <pc:docMk/>
            <pc:sldMk cId="3556834676" sldId="336"/>
            <ac:spMk id="85" creationId="{153A49F0-6D95-4E46-AFBA-96E7A3AEE42E}"/>
          </ac:spMkLst>
        </pc:spChg>
        <pc:spChg chg="add">
          <ac:chgData name="Andy Roberts" userId="b6430d21-8e5e-4d9c-81e9-e1ae515d6d74" providerId="ADAL" clId="{356C853E-D027-4183-864D-1C71215F695F}" dt="2017-12-05T18:19:09.011" v="493" actId="2696"/>
          <ac:spMkLst>
            <pc:docMk/>
            <pc:sldMk cId="3556834676" sldId="336"/>
            <ac:spMk id="86" creationId="{B76154B7-4472-45CB-9D12-D7A1BE27CA91}"/>
          </ac:spMkLst>
        </pc:spChg>
        <pc:spChg chg="add">
          <ac:chgData name="Andy Roberts" userId="b6430d21-8e5e-4d9c-81e9-e1ae515d6d74" providerId="ADAL" clId="{356C853E-D027-4183-864D-1C71215F695F}" dt="2017-12-05T18:19:09.011" v="493" actId="2696"/>
          <ac:spMkLst>
            <pc:docMk/>
            <pc:sldMk cId="3556834676" sldId="336"/>
            <ac:spMk id="87" creationId="{1E046C10-5D11-49F3-AE17-244B35B160A6}"/>
          </ac:spMkLst>
        </pc:spChg>
        <pc:spChg chg="add">
          <ac:chgData name="Andy Roberts" userId="b6430d21-8e5e-4d9c-81e9-e1ae515d6d74" providerId="ADAL" clId="{356C853E-D027-4183-864D-1C71215F695F}" dt="2017-12-05T18:19:09.011" v="493" actId="2696"/>
          <ac:spMkLst>
            <pc:docMk/>
            <pc:sldMk cId="3556834676" sldId="336"/>
            <ac:spMk id="88" creationId="{56EED3A0-7E43-4EB6-A651-AF105AC43DAD}"/>
          </ac:spMkLst>
        </pc:spChg>
        <pc:spChg chg="add">
          <ac:chgData name="Andy Roberts" userId="b6430d21-8e5e-4d9c-81e9-e1ae515d6d74" providerId="ADAL" clId="{356C853E-D027-4183-864D-1C71215F695F}" dt="2017-12-05T18:19:09.011" v="493" actId="2696"/>
          <ac:spMkLst>
            <pc:docMk/>
            <pc:sldMk cId="3556834676" sldId="336"/>
            <ac:spMk id="89" creationId="{B3E21CA5-186A-4304-AAB8-D4968550C9A8}"/>
          </ac:spMkLst>
        </pc:spChg>
        <pc:spChg chg="add">
          <ac:chgData name="Andy Roberts" userId="b6430d21-8e5e-4d9c-81e9-e1ae515d6d74" providerId="ADAL" clId="{356C853E-D027-4183-864D-1C71215F695F}" dt="2017-12-05T18:19:09.011" v="493" actId="2696"/>
          <ac:spMkLst>
            <pc:docMk/>
            <pc:sldMk cId="3556834676" sldId="336"/>
            <ac:spMk id="90" creationId="{14898D6C-E1D3-4EC7-9165-93FFE1714010}"/>
          </ac:spMkLst>
        </pc:spChg>
        <pc:spChg chg="add">
          <ac:chgData name="Andy Roberts" userId="b6430d21-8e5e-4d9c-81e9-e1ae515d6d74" providerId="ADAL" clId="{356C853E-D027-4183-864D-1C71215F695F}" dt="2017-12-05T18:19:09.011" v="493" actId="2696"/>
          <ac:spMkLst>
            <pc:docMk/>
            <pc:sldMk cId="3556834676" sldId="336"/>
            <ac:spMk id="91" creationId="{0562E95D-3ADC-43CD-81CE-9AB8F673F598}"/>
          </ac:spMkLst>
        </pc:spChg>
        <pc:spChg chg="add">
          <ac:chgData name="Andy Roberts" userId="b6430d21-8e5e-4d9c-81e9-e1ae515d6d74" providerId="ADAL" clId="{356C853E-D027-4183-864D-1C71215F695F}" dt="2017-12-05T18:19:09.011" v="493" actId="2696"/>
          <ac:spMkLst>
            <pc:docMk/>
            <pc:sldMk cId="3556834676" sldId="336"/>
            <ac:spMk id="92" creationId="{062DAAD8-1E7D-4497-B117-218621F52D7E}"/>
          </ac:spMkLst>
        </pc:spChg>
        <pc:spChg chg="add">
          <ac:chgData name="Andy Roberts" userId="b6430d21-8e5e-4d9c-81e9-e1ae515d6d74" providerId="ADAL" clId="{356C853E-D027-4183-864D-1C71215F695F}" dt="2017-12-05T18:19:09.011" v="493" actId="2696"/>
          <ac:spMkLst>
            <pc:docMk/>
            <pc:sldMk cId="3556834676" sldId="336"/>
            <ac:spMk id="93" creationId="{F7CF5B86-EECF-4707-9A96-ABF2BC1362C1}"/>
          </ac:spMkLst>
        </pc:spChg>
        <pc:spChg chg="add">
          <ac:chgData name="Andy Roberts" userId="b6430d21-8e5e-4d9c-81e9-e1ae515d6d74" providerId="ADAL" clId="{356C853E-D027-4183-864D-1C71215F695F}" dt="2017-12-05T18:19:09.011" v="493" actId="2696"/>
          <ac:spMkLst>
            <pc:docMk/>
            <pc:sldMk cId="3556834676" sldId="336"/>
            <ac:spMk id="94" creationId="{11067A87-DA09-41E4-86E3-41E9DE2BE7A4}"/>
          </ac:spMkLst>
        </pc:spChg>
        <pc:spChg chg="add">
          <ac:chgData name="Andy Roberts" userId="b6430d21-8e5e-4d9c-81e9-e1ae515d6d74" providerId="ADAL" clId="{356C853E-D027-4183-864D-1C71215F695F}" dt="2017-12-05T18:19:09.011" v="493" actId="2696"/>
          <ac:spMkLst>
            <pc:docMk/>
            <pc:sldMk cId="3556834676" sldId="336"/>
            <ac:spMk id="95" creationId="{11310256-9B30-420C-853C-1F9D07F31340}"/>
          </ac:spMkLst>
        </pc:spChg>
        <pc:spChg chg="add">
          <ac:chgData name="Andy Roberts" userId="b6430d21-8e5e-4d9c-81e9-e1ae515d6d74" providerId="ADAL" clId="{356C853E-D027-4183-864D-1C71215F695F}" dt="2017-12-05T18:19:09.011" v="493" actId="2696"/>
          <ac:spMkLst>
            <pc:docMk/>
            <pc:sldMk cId="3556834676" sldId="336"/>
            <ac:spMk id="96" creationId="{E942C2BE-0043-4A31-8627-8358C1A6FD40}"/>
          </ac:spMkLst>
        </pc:spChg>
        <pc:spChg chg="add">
          <ac:chgData name="Andy Roberts" userId="b6430d21-8e5e-4d9c-81e9-e1ae515d6d74" providerId="ADAL" clId="{356C853E-D027-4183-864D-1C71215F695F}" dt="2017-12-05T18:19:09.011" v="493" actId="2696"/>
          <ac:spMkLst>
            <pc:docMk/>
            <pc:sldMk cId="3556834676" sldId="336"/>
            <ac:spMk id="97" creationId="{C75DA69B-BB93-4010-ABC1-25D03CC2433D}"/>
          </ac:spMkLst>
        </pc:spChg>
        <pc:spChg chg="add">
          <ac:chgData name="Andy Roberts" userId="b6430d21-8e5e-4d9c-81e9-e1ae515d6d74" providerId="ADAL" clId="{356C853E-D027-4183-864D-1C71215F695F}" dt="2017-12-05T18:19:09.011" v="493" actId="2696"/>
          <ac:spMkLst>
            <pc:docMk/>
            <pc:sldMk cId="3556834676" sldId="336"/>
            <ac:spMk id="98" creationId="{A809B012-AC15-4B97-B41B-8103C74FD6EA}"/>
          </ac:spMkLst>
        </pc:spChg>
        <pc:spChg chg="add">
          <ac:chgData name="Andy Roberts" userId="b6430d21-8e5e-4d9c-81e9-e1ae515d6d74" providerId="ADAL" clId="{356C853E-D027-4183-864D-1C71215F695F}" dt="2017-12-05T18:19:09.011" v="493" actId="2696"/>
          <ac:spMkLst>
            <pc:docMk/>
            <pc:sldMk cId="3556834676" sldId="336"/>
            <ac:spMk id="99" creationId="{20004DC2-3239-4703-A12D-CD5010C19C95}"/>
          </ac:spMkLst>
        </pc:spChg>
        <pc:spChg chg="add">
          <ac:chgData name="Andy Roberts" userId="b6430d21-8e5e-4d9c-81e9-e1ae515d6d74" providerId="ADAL" clId="{356C853E-D027-4183-864D-1C71215F695F}" dt="2017-12-05T18:19:09.011" v="493" actId="2696"/>
          <ac:spMkLst>
            <pc:docMk/>
            <pc:sldMk cId="3556834676" sldId="336"/>
            <ac:spMk id="100" creationId="{26C5B930-0569-4EF7-AED8-110C390B56F8}"/>
          </ac:spMkLst>
        </pc:spChg>
        <pc:spChg chg="add">
          <ac:chgData name="Andy Roberts" userId="b6430d21-8e5e-4d9c-81e9-e1ae515d6d74" providerId="ADAL" clId="{356C853E-D027-4183-864D-1C71215F695F}" dt="2017-12-05T18:19:09.011" v="493" actId="2696"/>
          <ac:spMkLst>
            <pc:docMk/>
            <pc:sldMk cId="3556834676" sldId="336"/>
            <ac:spMk id="101" creationId="{9314B41E-2A71-467A-9093-1D4DD1816A38}"/>
          </ac:spMkLst>
        </pc:spChg>
        <pc:spChg chg="add">
          <ac:chgData name="Andy Roberts" userId="b6430d21-8e5e-4d9c-81e9-e1ae515d6d74" providerId="ADAL" clId="{356C853E-D027-4183-864D-1C71215F695F}" dt="2017-12-05T18:19:09.011" v="493" actId="2696"/>
          <ac:spMkLst>
            <pc:docMk/>
            <pc:sldMk cId="3556834676" sldId="336"/>
            <ac:spMk id="102" creationId="{6CAA58C8-9D29-4C6F-8E04-04BA69D96DEF}"/>
          </ac:spMkLst>
        </pc:spChg>
        <pc:spChg chg="add">
          <ac:chgData name="Andy Roberts" userId="b6430d21-8e5e-4d9c-81e9-e1ae515d6d74" providerId="ADAL" clId="{356C853E-D027-4183-864D-1C71215F695F}" dt="2017-12-05T18:19:09.011" v="493" actId="2696"/>
          <ac:spMkLst>
            <pc:docMk/>
            <pc:sldMk cId="3556834676" sldId="336"/>
            <ac:spMk id="103" creationId="{E98B85C3-240C-4A3D-960C-CE1AC1567105}"/>
          </ac:spMkLst>
        </pc:spChg>
        <pc:spChg chg="add">
          <ac:chgData name="Andy Roberts" userId="b6430d21-8e5e-4d9c-81e9-e1ae515d6d74" providerId="ADAL" clId="{356C853E-D027-4183-864D-1C71215F695F}" dt="2017-12-05T18:19:09.011" v="493" actId="2696"/>
          <ac:spMkLst>
            <pc:docMk/>
            <pc:sldMk cId="3556834676" sldId="336"/>
            <ac:spMk id="104" creationId="{E475E5AD-ADDE-485D-BF08-2E67B68DA31C}"/>
          </ac:spMkLst>
        </pc:spChg>
        <pc:spChg chg="add">
          <ac:chgData name="Andy Roberts" userId="b6430d21-8e5e-4d9c-81e9-e1ae515d6d74" providerId="ADAL" clId="{356C853E-D027-4183-864D-1C71215F695F}" dt="2017-12-05T18:19:09.011" v="493" actId="2696"/>
          <ac:spMkLst>
            <pc:docMk/>
            <pc:sldMk cId="3556834676" sldId="336"/>
            <ac:spMk id="105" creationId="{2B025A52-EDE3-4CD0-9406-1FED70F7B93F}"/>
          </ac:spMkLst>
        </pc:spChg>
        <pc:spChg chg="add">
          <ac:chgData name="Andy Roberts" userId="b6430d21-8e5e-4d9c-81e9-e1ae515d6d74" providerId="ADAL" clId="{356C853E-D027-4183-864D-1C71215F695F}" dt="2017-12-05T18:19:09.011" v="493" actId="2696"/>
          <ac:spMkLst>
            <pc:docMk/>
            <pc:sldMk cId="3556834676" sldId="336"/>
            <ac:spMk id="106" creationId="{872643C8-D8B3-4C94-A294-B7AC4A8667A3}"/>
          </ac:spMkLst>
        </pc:spChg>
        <pc:spChg chg="add">
          <ac:chgData name="Andy Roberts" userId="b6430d21-8e5e-4d9c-81e9-e1ae515d6d74" providerId="ADAL" clId="{356C853E-D027-4183-864D-1C71215F695F}" dt="2017-12-05T18:19:09.011" v="493" actId="2696"/>
          <ac:spMkLst>
            <pc:docMk/>
            <pc:sldMk cId="3556834676" sldId="336"/>
            <ac:spMk id="107" creationId="{34DDD544-F1EE-40E1-8517-6C0E9EF0DEE9}"/>
          </ac:spMkLst>
        </pc:spChg>
        <pc:spChg chg="add">
          <ac:chgData name="Andy Roberts" userId="b6430d21-8e5e-4d9c-81e9-e1ae515d6d74" providerId="ADAL" clId="{356C853E-D027-4183-864D-1C71215F695F}" dt="2017-12-05T18:19:09.011" v="493" actId="2696"/>
          <ac:spMkLst>
            <pc:docMk/>
            <pc:sldMk cId="3556834676" sldId="336"/>
            <ac:spMk id="108" creationId="{B0C1A1DE-B232-42D2-892B-17BF769F7E24}"/>
          </ac:spMkLst>
        </pc:spChg>
        <pc:spChg chg="add">
          <ac:chgData name="Andy Roberts" userId="b6430d21-8e5e-4d9c-81e9-e1ae515d6d74" providerId="ADAL" clId="{356C853E-D027-4183-864D-1C71215F695F}" dt="2017-12-05T18:19:09.011" v="493" actId="2696"/>
          <ac:spMkLst>
            <pc:docMk/>
            <pc:sldMk cId="3556834676" sldId="336"/>
            <ac:spMk id="109" creationId="{3C991B79-EAE3-4AF5-83E4-68AEEDBBE0DF}"/>
          </ac:spMkLst>
        </pc:spChg>
        <pc:spChg chg="add">
          <ac:chgData name="Andy Roberts" userId="b6430d21-8e5e-4d9c-81e9-e1ae515d6d74" providerId="ADAL" clId="{356C853E-D027-4183-864D-1C71215F695F}" dt="2017-12-05T18:19:09.011" v="493" actId="2696"/>
          <ac:spMkLst>
            <pc:docMk/>
            <pc:sldMk cId="3556834676" sldId="336"/>
            <ac:spMk id="110" creationId="{3373ABB7-2A47-4150-9B31-9320C468790B}"/>
          </ac:spMkLst>
        </pc:spChg>
        <pc:spChg chg="add">
          <ac:chgData name="Andy Roberts" userId="b6430d21-8e5e-4d9c-81e9-e1ae515d6d74" providerId="ADAL" clId="{356C853E-D027-4183-864D-1C71215F695F}" dt="2017-12-05T18:19:09.011" v="493" actId="2696"/>
          <ac:spMkLst>
            <pc:docMk/>
            <pc:sldMk cId="3556834676" sldId="336"/>
            <ac:spMk id="111" creationId="{DF1A8B38-8C91-4D23-8907-4E47CDD668CB}"/>
          </ac:spMkLst>
        </pc:spChg>
        <pc:spChg chg="add">
          <ac:chgData name="Andy Roberts" userId="b6430d21-8e5e-4d9c-81e9-e1ae515d6d74" providerId="ADAL" clId="{356C853E-D027-4183-864D-1C71215F695F}" dt="2017-12-05T18:19:09.011" v="493" actId="2696"/>
          <ac:spMkLst>
            <pc:docMk/>
            <pc:sldMk cId="3556834676" sldId="336"/>
            <ac:spMk id="112" creationId="{7C153CB3-BF40-42BB-B20A-62AB805B1664}"/>
          </ac:spMkLst>
        </pc:spChg>
        <pc:spChg chg="add">
          <ac:chgData name="Andy Roberts" userId="b6430d21-8e5e-4d9c-81e9-e1ae515d6d74" providerId="ADAL" clId="{356C853E-D027-4183-864D-1C71215F695F}" dt="2017-12-05T18:19:09.011" v="493" actId="2696"/>
          <ac:spMkLst>
            <pc:docMk/>
            <pc:sldMk cId="3556834676" sldId="336"/>
            <ac:spMk id="113" creationId="{A084F96D-CF62-42F9-AA72-0ED3CD287759}"/>
          </ac:spMkLst>
        </pc:spChg>
        <pc:spChg chg="add">
          <ac:chgData name="Andy Roberts" userId="b6430d21-8e5e-4d9c-81e9-e1ae515d6d74" providerId="ADAL" clId="{356C853E-D027-4183-864D-1C71215F695F}" dt="2017-12-05T18:19:09.011" v="493" actId="2696"/>
          <ac:spMkLst>
            <pc:docMk/>
            <pc:sldMk cId="3556834676" sldId="336"/>
            <ac:spMk id="114" creationId="{C9E17AA3-EE9C-445F-AA50-FA058EBAC9C0}"/>
          </ac:spMkLst>
        </pc:spChg>
        <pc:spChg chg="add">
          <ac:chgData name="Andy Roberts" userId="b6430d21-8e5e-4d9c-81e9-e1ae515d6d74" providerId="ADAL" clId="{356C853E-D027-4183-864D-1C71215F695F}" dt="2017-12-05T18:19:09.011" v="493" actId="2696"/>
          <ac:spMkLst>
            <pc:docMk/>
            <pc:sldMk cId="3556834676" sldId="336"/>
            <ac:spMk id="115" creationId="{4310A9B7-6B16-4D92-B701-590A62818FDA}"/>
          </ac:spMkLst>
        </pc:spChg>
        <pc:spChg chg="add">
          <ac:chgData name="Andy Roberts" userId="b6430d21-8e5e-4d9c-81e9-e1ae515d6d74" providerId="ADAL" clId="{356C853E-D027-4183-864D-1C71215F695F}" dt="2017-12-05T18:19:09.011" v="493" actId="2696"/>
          <ac:spMkLst>
            <pc:docMk/>
            <pc:sldMk cId="3556834676" sldId="336"/>
            <ac:spMk id="116" creationId="{DC4D1A00-B235-4715-AB13-BF10AD009720}"/>
          </ac:spMkLst>
        </pc:spChg>
        <pc:spChg chg="add">
          <ac:chgData name="Andy Roberts" userId="b6430d21-8e5e-4d9c-81e9-e1ae515d6d74" providerId="ADAL" clId="{356C853E-D027-4183-864D-1C71215F695F}" dt="2017-12-05T18:19:09.011" v="493" actId="2696"/>
          <ac:spMkLst>
            <pc:docMk/>
            <pc:sldMk cId="3556834676" sldId="336"/>
            <ac:spMk id="117" creationId="{865AF5DE-49A5-4446-B7EB-7AE9BE3B4A77}"/>
          </ac:spMkLst>
        </pc:spChg>
        <pc:spChg chg="add">
          <ac:chgData name="Andy Roberts" userId="b6430d21-8e5e-4d9c-81e9-e1ae515d6d74" providerId="ADAL" clId="{356C853E-D027-4183-864D-1C71215F695F}" dt="2017-12-05T18:19:09.011" v="493" actId="2696"/>
          <ac:spMkLst>
            <pc:docMk/>
            <pc:sldMk cId="3556834676" sldId="336"/>
            <ac:spMk id="118" creationId="{3BA2BFAD-24AE-4BBC-9668-867FC0CFDA6C}"/>
          </ac:spMkLst>
        </pc:spChg>
        <pc:spChg chg="add">
          <ac:chgData name="Andy Roberts" userId="b6430d21-8e5e-4d9c-81e9-e1ae515d6d74" providerId="ADAL" clId="{356C853E-D027-4183-864D-1C71215F695F}" dt="2017-12-05T18:19:09.011" v="493" actId="2696"/>
          <ac:spMkLst>
            <pc:docMk/>
            <pc:sldMk cId="3556834676" sldId="336"/>
            <ac:spMk id="119" creationId="{FAA3091E-012D-46BB-AA4A-BEB684E2BBD9}"/>
          </ac:spMkLst>
        </pc:spChg>
        <pc:spChg chg="add">
          <ac:chgData name="Andy Roberts" userId="b6430d21-8e5e-4d9c-81e9-e1ae515d6d74" providerId="ADAL" clId="{356C853E-D027-4183-864D-1C71215F695F}" dt="2017-12-05T18:19:09.011" v="493" actId="2696"/>
          <ac:spMkLst>
            <pc:docMk/>
            <pc:sldMk cId="3556834676" sldId="336"/>
            <ac:spMk id="120" creationId="{20C63B71-EE2A-4EFE-908B-94C5065F9258}"/>
          </ac:spMkLst>
        </pc:spChg>
        <pc:spChg chg="add">
          <ac:chgData name="Andy Roberts" userId="b6430d21-8e5e-4d9c-81e9-e1ae515d6d74" providerId="ADAL" clId="{356C853E-D027-4183-864D-1C71215F695F}" dt="2017-12-05T18:19:09.011" v="493" actId="2696"/>
          <ac:spMkLst>
            <pc:docMk/>
            <pc:sldMk cId="3556834676" sldId="336"/>
            <ac:spMk id="121" creationId="{8DA53932-9655-4FA2-B7FD-4D63F3952412}"/>
          </ac:spMkLst>
        </pc:spChg>
        <pc:spChg chg="add">
          <ac:chgData name="Andy Roberts" userId="b6430d21-8e5e-4d9c-81e9-e1ae515d6d74" providerId="ADAL" clId="{356C853E-D027-4183-864D-1C71215F695F}" dt="2017-12-05T18:19:09.011" v="493" actId="2696"/>
          <ac:spMkLst>
            <pc:docMk/>
            <pc:sldMk cId="3556834676" sldId="336"/>
            <ac:spMk id="122" creationId="{95E87112-397B-4F48-A106-FC517E7ECC02}"/>
          </ac:spMkLst>
        </pc:spChg>
        <pc:spChg chg="add">
          <ac:chgData name="Andy Roberts" userId="b6430d21-8e5e-4d9c-81e9-e1ae515d6d74" providerId="ADAL" clId="{356C853E-D027-4183-864D-1C71215F695F}" dt="2017-12-05T18:19:09.011" v="493" actId="2696"/>
          <ac:spMkLst>
            <pc:docMk/>
            <pc:sldMk cId="3556834676" sldId="336"/>
            <ac:spMk id="123" creationId="{8A2D770D-DDEF-4F09-855E-6EC84C460D17}"/>
          </ac:spMkLst>
        </pc:spChg>
        <pc:spChg chg="add">
          <ac:chgData name="Andy Roberts" userId="b6430d21-8e5e-4d9c-81e9-e1ae515d6d74" providerId="ADAL" clId="{356C853E-D027-4183-864D-1C71215F695F}" dt="2017-12-05T18:19:09.011" v="493" actId="2696"/>
          <ac:spMkLst>
            <pc:docMk/>
            <pc:sldMk cId="3556834676" sldId="336"/>
            <ac:spMk id="124" creationId="{B0CDA371-6F36-4DB1-B28C-A7295F1AEA40}"/>
          </ac:spMkLst>
        </pc:spChg>
        <pc:spChg chg="add">
          <ac:chgData name="Andy Roberts" userId="b6430d21-8e5e-4d9c-81e9-e1ae515d6d74" providerId="ADAL" clId="{356C853E-D027-4183-864D-1C71215F695F}" dt="2017-12-05T18:19:09.011" v="493" actId="2696"/>
          <ac:spMkLst>
            <pc:docMk/>
            <pc:sldMk cId="3556834676" sldId="336"/>
            <ac:spMk id="125" creationId="{66DB5DED-EC40-49B5-A057-5560FF1D1AB6}"/>
          </ac:spMkLst>
        </pc:spChg>
        <pc:spChg chg="add">
          <ac:chgData name="Andy Roberts" userId="b6430d21-8e5e-4d9c-81e9-e1ae515d6d74" providerId="ADAL" clId="{356C853E-D027-4183-864D-1C71215F695F}" dt="2017-12-05T18:19:09.011" v="493" actId="2696"/>
          <ac:spMkLst>
            <pc:docMk/>
            <pc:sldMk cId="3556834676" sldId="336"/>
            <ac:spMk id="126" creationId="{BE8BF065-2F4E-48C1-AF9E-963E79B59A2A}"/>
          </ac:spMkLst>
        </pc:spChg>
        <pc:spChg chg="add">
          <ac:chgData name="Andy Roberts" userId="b6430d21-8e5e-4d9c-81e9-e1ae515d6d74" providerId="ADAL" clId="{356C853E-D027-4183-864D-1C71215F695F}" dt="2017-12-05T18:19:09.011" v="493" actId="2696"/>
          <ac:spMkLst>
            <pc:docMk/>
            <pc:sldMk cId="3556834676" sldId="336"/>
            <ac:spMk id="127" creationId="{A5BDBD7F-A572-4C8B-9DB5-2ED64F3CAE0D}"/>
          </ac:spMkLst>
        </pc:spChg>
        <pc:spChg chg="add">
          <ac:chgData name="Andy Roberts" userId="b6430d21-8e5e-4d9c-81e9-e1ae515d6d74" providerId="ADAL" clId="{356C853E-D027-4183-864D-1C71215F695F}" dt="2017-12-05T18:19:09.011" v="493" actId="2696"/>
          <ac:spMkLst>
            <pc:docMk/>
            <pc:sldMk cId="3556834676" sldId="336"/>
            <ac:spMk id="128" creationId="{B4697742-479F-43E9-91F4-666B89D209D9}"/>
          </ac:spMkLst>
        </pc:spChg>
        <pc:spChg chg="add">
          <ac:chgData name="Andy Roberts" userId="b6430d21-8e5e-4d9c-81e9-e1ae515d6d74" providerId="ADAL" clId="{356C853E-D027-4183-864D-1C71215F695F}" dt="2017-12-05T18:19:09.011" v="493" actId="2696"/>
          <ac:spMkLst>
            <pc:docMk/>
            <pc:sldMk cId="3556834676" sldId="336"/>
            <ac:spMk id="129" creationId="{23D8FB22-FF0E-4EEB-A028-02861F290E93}"/>
          </ac:spMkLst>
        </pc:spChg>
        <pc:spChg chg="add">
          <ac:chgData name="Andy Roberts" userId="b6430d21-8e5e-4d9c-81e9-e1ae515d6d74" providerId="ADAL" clId="{356C853E-D027-4183-864D-1C71215F695F}" dt="2017-12-05T18:19:09.011" v="493" actId="2696"/>
          <ac:spMkLst>
            <pc:docMk/>
            <pc:sldMk cId="3556834676" sldId="336"/>
            <ac:spMk id="130" creationId="{1B4664A0-5D00-4F27-8211-1702154E5143}"/>
          </ac:spMkLst>
        </pc:spChg>
        <pc:spChg chg="add">
          <ac:chgData name="Andy Roberts" userId="b6430d21-8e5e-4d9c-81e9-e1ae515d6d74" providerId="ADAL" clId="{356C853E-D027-4183-864D-1C71215F695F}" dt="2017-12-05T18:19:09.011" v="493" actId="2696"/>
          <ac:spMkLst>
            <pc:docMk/>
            <pc:sldMk cId="3556834676" sldId="336"/>
            <ac:spMk id="131" creationId="{8A42C2E8-314A-44BD-8E4D-78DB07EA0766}"/>
          </ac:spMkLst>
        </pc:spChg>
        <pc:spChg chg="add">
          <ac:chgData name="Andy Roberts" userId="b6430d21-8e5e-4d9c-81e9-e1ae515d6d74" providerId="ADAL" clId="{356C853E-D027-4183-864D-1C71215F695F}" dt="2017-12-05T18:19:09.011" v="493" actId="2696"/>
          <ac:spMkLst>
            <pc:docMk/>
            <pc:sldMk cId="3556834676" sldId="336"/>
            <ac:spMk id="132" creationId="{1AD41D1D-D3B0-4C74-B89C-F7F767EAD133}"/>
          </ac:spMkLst>
        </pc:spChg>
        <pc:spChg chg="add">
          <ac:chgData name="Andy Roberts" userId="b6430d21-8e5e-4d9c-81e9-e1ae515d6d74" providerId="ADAL" clId="{356C853E-D027-4183-864D-1C71215F695F}" dt="2017-12-05T18:19:09.011" v="493" actId="2696"/>
          <ac:spMkLst>
            <pc:docMk/>
            <pc:sldMk cId="3556834676" sldId="336"/>
            <ac:spMk id="133" creationId="{F39125BA-4A23-4532-A7E4-49D875661133}"/>
          </ac:spMkLst>
        </pc:spChg>
        <pc:spChg chg="add">
          <ac:chgData name="Andy Roberts" userId="b6430d21-8e5e-4d9c-81e9-e1ae515d6d74" providerId="ADAL" clId="{356C853E-D027-4183-864D-1C71215F695F}" dt="2017-12-05T18:19:09.011" v="493" actId="2696"/>
          <ac:spMkLst>
            <pc:docMk/>
            <pc:sldMk cId="3556834676" sldId="336"/>
            <ac:spMk id="134" creationId="{F79AF370-A4C9-479E-BF20-64789BDC5513}"/>
          </ac:spMkLst>
        </pc:spChg>
        <pc:spChg chg="add">
          <ac:chgData name="Andy Roberts" userId="b6430d21-8e5e-4d9c-81e9-e1ae515d6d74" providerId="ADAL" clId="{356C853E-D027-4183-864D-1C71215F695F}" dt="2017-12-05T18:19:09.011" v="493" actId="2696"/>
          <ac:spMkLst>
            <pc:docMk/>
            <pc:sldMk cId="3556834676" sldId="336"/>
            <ac:spMk id="135" creationId="{80AD8DC9-3EA2-4B1A-8D84-A31984E936B0}"/>
          </ac:spMkLst>
        </pc:spChg>
        <pc:spChg chg="add">
          <ac:chgData name="Andy Roberts" userId="b6430d21-8e5e-4d9c-81e9-e1ae515d6d74" providerId="ADAL" clId="{356C853E-D027-4183-864D-1C71215F695F}" dt="2017-12-05T18:19:09.011" v="493" actId="2696"/>
          <ac:spMkLst>
            <pc:docMk/>
            <pc:sldMk cId="3556834676" sldId="336"/>
            <ac:spMk id="136" creationId="{E0993DB3-B647-4E31-97D3-4E5AD17032EA}"/>
          </ac:spMkLst>
        </pc:spChg>
        <pc:spChg chg="add">
          <ac:chgData name="Andy Roberts" userId="b6430d21-8e5e-4d9c-81e9-e1ae515d6d74" providerId="ADAL" clId="{356C853E-D027-4183-864D-1C71215F695F}" dt="2017-12-05T18:19:09.011" v="493" actId="2696"/>
          <ac:spMkLst>
            <pc:docMk/>
            <pc:sldMk cId="3556834676" sldId="336"/>
            <ac:spMk id="137" creationId="{28FC11BD-4865-40C0-968F-32C134A70BF0}"/>
          </ac:spMkLst>
        </pc:spChg>
        <pc:spChg chg="add">
          <ac:chgData name="Andy Roberts" userId="b6430d21-8e5e-4d9c-81e9-e1ae515d6d74" providerId="ADAL" clId="{356C853E-D027-4183-864D-1C71215F695F}" dt="2017-12-05T18:19:09.011" v="493" actId="2696"/>
          <ac:spMkLst>
            <pc:docMk/>
            <pc:sldMk cId="3556834676" sldId="336"/>
            <ac:spMk id="138" creationId="{05EE72F6-4FC0-47C2-9685-96F7C6AC2FFE}"/>
          </ac:spMkLst>
        </pc:spChg>
        <pc:spChg chg="add">
          <ac:chgData name="Andy Roberts" userId="b6430d21-8e5e-4d9c-81e9-e1ae515d6d74" providerId="ADAL" clId="{356C853E-D027-4183-864D-1C71215F695F}" dt="2017-12-05T18:19:09.011" v="493" actId="2696"/>
          <ac:spMkLst>
            <pc:docMk/>
            <pc:sldMk cId="3556834676" sldId="336"/>
            <ac:spMk id="139" creationId="{0ADE81D8-4351-41ED-9C5A-83180E855B3A}"/>
          </ac:spMkLst>
        </pc:spChg>
        <pc:spChg chg="add">
          <ac:chgData name="Andy Roberts" userId="b6430d21-8e5e-4d9c-81e9-e1ae515d6d74" providerId="ADAL" clId="{356C853E-D027-4183-864D-1C71215F695F}" dt="2017-12-05T18:19:09.011" v="493" actId="2696"/>
          <ac:spMkLst>
            <pc:docMk/>
            <pc:sldMk cId="3556834676" sldId="336"/>
            <ac:spMk id="140" creationId="{257060D0-4BA8-4E37-A7A6-663F896DAC68}"/>
          </ac:spMkLst>
        </pc:spChg>
        <pc:spChg chg="add">
          <ac:chgData name="Andy Roberts" userId="b6430d21-8e5e-4d9c-81e9-e1ae515d6d74" providerId="ADAL" clId="{356C853E-D027-4183-864D-1C71215F695F}" dt="2017-12-05T18:19:09.011" v="493" actId="2696"/>
          <ac:spMkLst>
            <pc:docMk/>
            <pc:sldMk cId="3556834676" sldId="336"/>
            <ac:spMk id="141" creationId="{031D526F-449E-469D-8828-997FD38BB4A5}"/>
          </ac:spMkLst>
        </pc:spChg>
        <pc:spChg chg="add">
          <ac:chgData name="Andy Roberts" userId="b6430d21-8e5e-4d9c-81e9-e1ae515d6d74" providerId="ADAL" clId="{356C853E-D027-4183-864D-1C71215F695F}" dt="2017-12-05T18:19:09.011" v="493" actId="2696"/>
          <ac:spMkLst>
            <pc:docMk/>
            <pc:sldMk cId="3556834676" sldId="336"/>
            <ac:spMk id="142" creationId="{B813ED28-0527-431A-97B8-F3DC47E8B377}"/>
          </ac:spMkLst>
        </pc:spChg>
        <pc:spChg chg="add">
          <ac:chgData name="Andy Roberts" userId="b6430d21-8e5e-4d9c-81e9-e1ae515d6d74" providerId="ADAL" clId="{356C853E-D027-4183-864D-1C71215F695F}" dt="2017-12-05T18:19:09.011" v="493" actId="2696"/>
          <ac:spMkLst>
            <pc:docMk/>
            <pc:sldMk cId="3556834676" sldId="336"/>
            <ac:spMk id="143" creationId="{3CC35520-D180-4C5E-BAF0-EE7EC377E57E}"/>
          </ac:spMkLst>
        </pc:spChg>
        <pc:spChg chg="add">
          <ac:chgData name="Andy Roberts" userId="b6430d21-8e5e-4d9c-81e9-e1ae515d6d74" providerId="ADAL" clId="{356C853E-D027-4183-864D-1C71215F695F}" dt="2017-12-05T18:19:09.011" v="493" actId="2696"/>
          <ac:spMkLst>
            <pc:docMk/>
            <pc:sldMk cId="3556834676" sldId="336"/>
            <ac:spMk id="144" creationId="{EF3F5878-8B71-4EE8-891F-DBBF87465C83}"/>
          </ac:spMkLst>
        </pc:spChg>
        <pc:spChg chg="add">
          <ac:chgData name="Andy Roberts" userId="b6430d21-8e5e-4d9c-81e9-e1ae515d6d74" providerId="ADAL" clId="{356C853E-D027-4183-864D-1C71215F695F}" dt="2017-12-05T18:19:09.011" v="493" actId="2696"/>
          <ac:spMkLst>
            <pc:docMk/>
            <pc:sldMk cId="3556834676" sldId="336"/>
            <ac:spMk id="145" creationId="{EE59A11B-830B-4557-9B4C-4484468D2A3E}"/>
          </ac:spMkLst>
        </pc:spChg>
        <pc:spChg chg="add">
          <ac:chgData name="Andy Roberts" userId="b6430d21-8e5e-4d9c-81e9-e1ae515d6d74" providerId="ADAL" clId="{356C853E-D027-4183-864D-1C71215F695F}" dt="2017-12-05T18:19:09.011" v="493" actId="2696"/>
          <ac:spMkLst>
            <pc:docMk/>
            <pc:sldMk cId="3556834676" sldId="336"/>
            <ac:spMk id="146" creationId="{2DE5ACA0-A7AD-4CBE-895E-B0E09EA6FED9}"/>
          </ac:spMkLst>
        </pc:spChg>
        <pc:spChg chg="add">
          <ac:chgData name="Andy Roberts" userId="b6430d21-8e5e-4d9c-81e9-e1ae515d6d74" providerId="ADAL" clId="{356C853E-D027-4183-864D-1C71215F695F}" dt="2017-12-05T18:19:09.011" v="493" actId="2696"/>
          <ac:spMkLst>
            <pc:docMk/>
            <pc:sldMk cId="3556834676" sldId="336"/>
            <ac:spMk id="147" creationId="{8F04A181-5169-4B36-9F17-95ABA96F4205}"/>
          </ac:spMkLst>
        </pc:spChg>
        <pc:spChg chg="add">
          <ac:chgData name="Andy Roberts" userId="b6430d21-8e5e-4d9c-81e9-e1ae515d6d74" providerId="ADAL" clId="{356C853E-D027-4183-864D-1C71215F695F}" dt="2017-12-05T18:19:09.011" v="493" actId="2696"/>
          <ac:spMkLst>
            <pc:docMk/>
            <pc:sldMk cId="3556834676" sldId="336"/>
            <ac:spMk id="148" creationId="{4319A73A-F24B-4196-A9C5-0503F92F5CF3}"/>
          </ac:spMkLst>
        </pc:spChg>
        <pc:spChg chg="add">
          <ac:chgData name="Andy Roberts" userId="b6430d21-8e5e-4d9c-81e9-e1ae515d6d74" providerId="ADAL" clId="{356C853E-D027-4183-864D-1C71215F695F}" dt="2017-12-05T18:19:54.159" v="505" actId="2696"/>
          <ac:spMkLst>
            <pc:docMk/>
            <pc:sldMk cId="3556834676" sldId="336"/>
            <ac:spMk id="149" creationId="{884CEFD3-F6F9-4E89-BAFD-ED71DF8497CE}"/>
          </ac:spMkLst>
        </pc:spChg>
        <pc:spChg chg="add">
          <ac:chgData name="Andy Roberts" userId="b6430d21-8e5e-4d9c-81e9-e1ae515d6d74" providerId="ADAL" clId="{356C853E-D027-4183-864D-1C71215F695F}" dt="2017-12-05T18:19:54.159" v="505" actId="2696"/>
          <ac:spMkLst>
            <pc:docMk/>
            <pc:sldMk cId="3556834676" sldId="336"/>
            <ac:spMk id="150" creationId="{F829E345-9361-4F9A-A40F-75DCCD6D7913}"/>
          </ac:spMkLst>
        </pc:spChg>
        <pc:spChg chg="add">
          <ac:chgData name="Andy Roberts" userId="b6430d21-8e5e-4d9c-81e9-e1ae515d6d74" providerId="ADAL" clId="{356C853E-D027-4183-864D-1C71215F695F}" dt="2017-12-05T18:19:54.159" v="505" actId="2696"/>
          <ac:spMkLst>
            <pc:docMk/>
            <pc:sldMk cId="3556834676" sldId="336"/>
            <ac:spMk id="152" creationId="{74E2007B-BCD7-4AD6-9FB2-75E5714DB5B8}"/>
          </ac:spMkLst>
        </pc:spChg>
        <pc:spChg chg="add">
          <ac:chgData name="Andy Roberts" userId="b6430d21-8e5e-4d9c-81e9-e1ae515d6d74" providerId="ADAL" clId="{356C853E-D027-4183-864D-1C71215F695F}" dt="2017-12-05T18:19:54.159" v="505" actId="2696"/>
          <ac:spMkLst>
            <pc:docMk/>
            <pc:sldMk cId="3556834676" sldId="336"/>
            <ac:spMk id="153" creationId="{B73CD8C7-F388-4640-8046-7AE851076C25}"/>
          </ac:spMkLst>
        </pc:spChg>
        <pc:spChg chg="add">
          <ac:chgData name="Andy Roberts" userId="b6430d21-8e5e-4d9c-81e9-e1ae515d6d74" providerId="ADAL" clId="{356C853E-D027-4183-864D-1C71215F695F}" dt="2017-12-05T18:19:54.159" v="505" actId="2696"/>
          <ac:spMkLst>
            <pc:docMk/>
            <pc:sldMk cId="3556834676" sldId="336"/>
            <ac:spMk id="154" creationId="{A52445C1-24FF-401F-97F3-8F09B4BBE34B}"/>
          </ac:spMkLst>
        </pc:spChg>
        <pc:spChg chg="add">
          <ac:chgData name="Andy Roberts" userId="b6430d21-8e5e-4d9c-81e9-e1ae515d6d74" providerId="ADAL" clId="{356C853E-D027-4183-864D-1C71215F695F}" dt="2017-12-05T18:19:54.159" v="505" actId="2696"/>
          <ac:spMkLst>
            <pc:docMk/>
            <pc:sldMk cId="3556834676" sldId="336"/>
            <ac:spMk id="155" creationId="{100C0793-9DFE-457D-8E4E-19E802A755AA}"/>
          </ac:spMkLst>
        </pc:spChg>
        <pc:spChg chg="add">
          <ac:chgData name="Andy Roberts" userId="b6430d21-8e5e-4d9c-81e9-e1ae515d6d74" providerId="ADAL" clId="{356C853E-D027-4183-864D-1C71215F695F}" dt="2017-12-05T18:19:54.159" v="505" actId="2696"/>
          <ac:spMkLst>
            <pc:docMk/>
            <pc:sldMk cId="3556834676" sldId="336"/>
            <ac:spMk id="156" creationId="{07E0A64C-3752-408A-95F0-B0A070360506}"/>
          </ac:spMkLst>
        </pc:spChg>
        <pc:spChg chg="add">
          <ac:chgData name="Andy Roberts" userId="b6430d21-8e5e-4d9c-81e9-e1ae515d6d74" providerId="ADAL" clId="{356C853E-D027-4183-864D-1C71215F695F}" dt="2017-12-05T18:19:54.159" v="505" actId="2696"/>
          <ac:spMkLst>
            <pc:docMk/>
            <pc:sldMk cId="3556834676" sldId="336"/>
            <ac:spMk id="157" creationId="{A85344DF-6E60-42DC-B7B1-4424FD7A1032}"/>
          </ac:spMkLst>
        </pc:spChg>
        <pc:spChg chg="add">
          <ac:chgData name="Andy Roberts" userId="b6430d21-8e5e-4d9c-81e9-e1ae515d6d74" providerId="ADAL" clId="{356C853E-D027-4183-864D-1C71215F695F}" dt="2017-12-05T18:19:54.159" v="505" actId="2696"/>
          <ac:spMkLst>
            <pc:docMk/>
            <pc:sldMk cId="3556834676" sldId="336"/>
            <ac:spMk id="158" creationId="{25D07EA9-379B-417D-9013-E70A897A4E90}"/>
          </ac:spMkLst>
        </pc:spChg>
        <pc:spChg chg="add">
          <ac:chgData name="Andy Roberts" userId="b6430d21-8e5e-4d9c-81e9-e1ae515d6d74" providerId="ADAL" clId="{356C853E-D027-4183-864D-1C71215F695F}" dt="2017-12-05T18:19:54.159" v="505" actId="2696"/>
          <ac:spMkLst>
            <pc:docMk/>
            <pc:sldMk cId="3556834676" sldId="336"/>
            <ac:spMk id="159" creationId="{1F58E3BD-4471-4B76-9C0C-5BCB899C9D65}"/>
          </ac:spMkLst>
        </pc:spChg>
        <pc:spChg chg="add">
          <ac:chgData name="Andy Roberts" userId="b6430d21-8e5e-4d9c-81e9-e1ae515d6d74" providerId="ADAL" clId="{356C853E-D027-4183-864D-1C71215F695F}" dt="2017-12-05T18:19:54.159" v="505" actId="2696"/>
          <ac:spMkLst>
            <pc:docMk/>
            <pc:sldMk cId="3556834676" sldId="336"/>
            <ac:spMk id="160" creationId="{F7004B9A-9AA0-4C88-8AC2-43ECE98F9E0B}"/>
          </ac:spMkLst>
        </pc:spChg>
        <pc:spChg chg="add">
          <ac:chgData name="Andy Roberts" userId="b6430d21-8e5e-4d9c-81e9-e1ae515d6d74" providerId="ADAL" clId="{356C853E-D027-4183-864D-1C71215F695F}" dt="2017-12-05T18:19:54.159" v="505" actId="2696"/>
          <ac:spMkLst>
            <pc:docMk/>
            <pc:sldMk cId="3556834676" sldId="336"/>
            <ac:spMk id="161" creationId="{C05F9BD1-D740-4637-A964-3EDA346AA75F}"/>
          </ac:spMkLst>
        </pc:spChg>
        <pc:spChg chg="add">
          <ac:chgData name="Andy Roberts" userId="b6430d21-8e5e-4d9c-81e9-e1ae515d6d74" providerId="ADAL" clId="{356C853E-D027-4183-864D-1C71215F695F}" dt="2017-12-05T18:19:54.159" v="505" actId="2696"/>
          <ac:spMkLst>
            <pc:docMk/>
            <pc:sldMk cId="3556834676" sldId="336"/>
            <ac:spMk id="165" creationId="{7B2265F5-F6B5-4D1C-9F4B-BBD1574A8E3B}"/>
          </ac:spMkLst>
        </pc:spChg>
        <pc:spChg chg="add">
          <ac:chgData name="Andy Roberts" userId="b6430d21-8e5e-4d9c-81e9-e1ae515d6d74" providerId="ADAL" clId="{356C853E-D027-4183-864D-1C71215F695F}" dt="2017-12-05T18:19:54.159" v="505" actId="2696"/>
          <ac:spMkLst>
            <pc:docMk/>
            <pc:sldMk cId="3556834676" sldId="336"/>
            <ac:spMk id="166" creationId="{A17926DF-A6EA-4D54-AAF9-3E7A9B737C11}"/>
          </ac:spMkLst>
        </pc:spChg>
        <pc:spChg chg="add">
          <ac:chgData name="Andy Roberts" userId="b6430d21-8e5e-4d9c-81e9-e1ae515d6d74" providerId="ADAL" clId="{356C853E-D027-4183-864D-1C71215F695F}" dt="2017-12-05T18:19:54.159" v="505" actId="2696"/>
          <ac:spMkLst>
            <pc:docMk/>
            <pc:sldMk cId="3556834676" sldId="336"/>
            <ac:spMk id="167" creationId="{104EE1BD-A71E-457B-9FB7-84153E0FA425}"/>
          </ac:spMkLst>
        </pc:spChg>
        <pc:spChg chg="add">
          <ac:chgData name="Andy Roberts" userId="b6430d21-8e5e-4d9c-81e9-e1ae515d6d74" providerId="ADAL" clId="{356C853E-D027-4183-864D-1C71215F695F}" dt="2017-12-05T18:19:54.159" v="505" actId="2696"/>
          <ac:spMkLst>
            <pc:docMk/>
            <pc:sldMk cId="3556834676" sldId="336"/>
            <ac:spMk id="168" creationId="{D3AB24DC-58F4-4637-B5A5-38AC90A5509B}"/>
          </ac:spMkLst>
        </pc:spChg>
        <pc:spChg chg="add">
          <ac:chgData name="Andy Roberts" userId="b6430d21-8e5e-4d9c-81e9-e1ae515d6d74" providerId="ADAL" clId="{356C853E-D027-4183-864D-1C71215F695F}" dt="2017-12-05T18:19:54.159" v="505" actId="2696"/>
          <ac:spMkLst>
            <pc:docMk/>
            <pc:sldMk cId="3556834676" sldId="336"/>
            <ac:spMk id="169" creationId="{32B68247-4D66-42D4-AD4C-08A29C174898}"/>
          </ac:spMkLst>
        </pc:spChg>
        <pc:spChg chg="add">
          <ac:chgData name="Andy Roberts" userId="b6430d21-8e5e-4d9c-81e9-e1ae515d6d74" providerId="ADAL" clId="{356C853E-D027-4183-864D-1C71215F695F}" dt="2017-12-05T18:19:54.159" v="505" actId="2696"/>
          <ac:spMkLst>
            <pc:docMk/>
            <pc:sldMk cId="3556834676" sldId="336"/>
            <ac:spMk id="170" creationId="{EA87BF92-821F-47FD-82AF-3BB292293A00}"/>
          </ac:spMkLst>
        </pc:spChg>
        <pc:spChg chg="add">
          <ac:chgData name="Andy Roberts" userId="b6430d21-8e5e-4d9c-81e9-e1ae515d6d74" providerId="ADAL" clId="{356C853E-D027-4183-864D-1C71215F695F}" dt="2017-12-05T18:19:54.159" v="505" actId="2696"/>
          <ac:spMkLst>
            <pc:docMk/>
            <pc:sldMk cId="3556834676" sldId="336"/>
            <ac:spMk id="171" creationId="{C4DDBC63-4A55-4F40-B9D0-7F74DE522BEF}"/>
          </ac:spMkLst>
        </pc:spChg>
        <pc:spChg chg="add">
          <ac:chgData name="Andy Roberts" userId="b6430d21-8e5e-4d9c-81e9-e1ae515d6d74" providerId="ADAL" clId="{356C853E-D027-4183-864D-1C71215F695F}" dt="2017-12-05T18:19:54.159" v="505" actId="2696"/>
          <ac:spMkLst>
            <pc:docMk/>
            <pc:sldMk cId="3556834676" sldId="336"/>
            <ac:spMk id="172" creationId="{95BA31AE-3F47-401B-9A3C-1BE6E0151BED}"/>
          </ac:spMkLst>
        </pc:spChg>
        <pc:spChg chg="add">
          <ac:chgData name="Andy Roberts" userId="b6430d21-8e5e-4d9c-81e9-e1ae515d6d74" providerId="ADAL" clId="{356C853E-D027-4183-864D-1C71215F695F}" dt="2017-12-05T18:19:54.159" v="505" actId="2696"/>
          <ac:spMkLst>
            <pc:docMk/>
            <pc:sldMk cId="3556834676" sldId="336"/>
            <ac:spMk id="173" creationId="{253B73A4-DE58-481A-AA79-69BF6303A8B3}"/>
          </ac:spMkLst>
        </pc:spChg>
        <pc:spChg chg="add">
          <ac:chgData name="Andy Roberts" userId="b6430d21-8e5e-4d9c-81e9-e1ae515d6d74" providerId="ADAL" clId="{356C853E-D027-4183-864D-1C71215F695F}" dt="2017-12-05T18:19:54.159" v="505" actId="2696"/>
          <ac:spMkLst>
            <pc:docMk/>
            <pc:sldMk cId="3556834676" sldId="336"/>
            <ac:spMk id="174" creationId="{BE511E33-48F2-42AC-9948-A222A4DC8C3E}"/>
          </ac:spMkLst>
        </pc:spChg>
        <pc:spChg chg="add">
          <ac:chgData name="Andy Roberts" userId="b6430d21-8e5e-4d9c-81e9-e1ae515d6d74" providerId="ADAL" clId="{356C853E-D027-4183-864D-1C71215F695F}" dt="2017-12-05T18:19:54.159" v="505" actId="2696"/>
          <ac:spMkLst>
            <pc:docMk/>
            <pc:sldMk cId="3556834676" sldId="336"/>
            <ac:spMk id="180" creationId="{7B995B6D-EE1E-4D79-A357-DAC8D5B62ACB}"/>
          </ac:spMkLst>
        </pc:spChg>
        <pc:spChg chg="add">
          <ac:chgData name="Andy Roberts" userId="b6430d21-8e5e-4d9c-81e9-e1ae515d6d74" providerId="ADAL" clId="{356C853E-D027-4183-864D-1C71215F695F}" dt="2017-12-05T18:19:54.159" v="505" actId="2696"/>
          <ac:spMkLst>
            <pc:docMk/>
            <pc:sldMk cId="3556834676" sldId="336"/>
            <ac:spMk id="181" creationId="{E370ADC0-2F0B-41C5-948F-E9E603968463}"/>
          </ac:spMkLst>
        </pc:spChg>
        <pc:spChg chg="add">
          <ac:chgData name="Andy Roberts" userId="b6430d21-8e5e-4d9c-81e9-e1ae515d6d74" providerId="ADAL" clId="{356C853E-D027-4183-864D-1C71215F695F}" dt="2017-12-05T18:19:54.159" v="505" actId="2696"/>
          <ac:spMkLst>
            <pc:docMk/>
            <pc:sldMk cId="3556834676" sldId="336"/>
            <ac:spMk id="183" creationId="{388108E0-EBF3-4B84-8345-A568014603CC}"/>
          </ac:spMkLst>
        </pc:spChg>
        <pc:spChg chg="add">
          <ac:chgData name="Andy Roberts" userId="b6430d21-8e5e-4d9c-81e9-e1ae515d6d74" providerId="ADAL" clId="{356C853E-D027-4183-864D-1C71215F695F}" dt="2017-12-05T18:19:54.159" v="505" actId="2696"/>
          <ac:spMkLst>
            <pc:docMk/>
            <pc:sldMk cId="3556834676" sldId="336"/>
            <ac:spMk id="194" creationId="{CA0A176A-C0DA-495E-BEBF-4635F2F48AFC}"/>
          </ac:spMkLst>
        </pc:spChg>
        <pc:spChg chg="add">
          <ac:chgData name="Andy Roberts" userId="b6430d21-8e5e-4d9c-81e9-e1ae515d6d74" providerId="ADAL" clId="{356C853E-D027-4183-864D-1C71215F695F}" dt="2017-12-05T18:19:54.159" v="505" actId="2696"/>
          <ac:spMkLst>
            <pc:docMk/>
            <pc:sldMk cId="3556834676" sldId="336"/>
            <ac:spMk id="195" creationId="{B8846387-781F-49E3-8A64-F80BA5CE73BF}"/>
          </ac:spMkLst>
        </pc:spChg>
        <pc:spChg chg="add">
          <ac:chgData name="Andy Roberts" userId="b6430d21-8e5e-4d9c-81e9-e1ae515d6d74" providerId="ADAL" clId="{356C853E-D027-4183-864D-1C71215F695F}" dt="2017-12-05T18:19:54.159" v="505" actId="2696"/>
          <ac:spMkLst>
            <pc:docMk/>
            <pc:sldMk cId="3556834676" sldId="336"/>
            <ac:spMk id="196" creationId="{013593CC-8434-439E-B40B-415B82F4ADD3}"/>
          </ac:spMkLst>
        </pc:spChg>
        <pc:spChg chg="add">
          <ac:chgData name="Andy Roberts" userId="b6430d21-8e5e-4d9c-81e9-e1ae515d6d74" providerId="ADAL" clId="{356C853E-D027-4183-864D-1C71215F695F}" dt="2017-12-05T18:19:54.159" v="505" actId="2696"/>
          <ac:spMkLst>
            <pc:docMk/>
            <pc:sldMk cId="3556834676" sldId="336"/>
            <ac:spMk id="197" creationId="{ECB1AC98-40E2-447D-8849-3FB5C629CF6C}"/>
          </ac:spMkLst>
        </pc:spChg>
        <pc:spChg chg="add">
          <ac:chgData name="Andy Roberts" userId="b6430d21-8e5e-4d9c-81e9-e1ae515d6d74" providerId="ADAL" clId="{356C853E-D027-4183-864D-1C71215F695F}" dt="2017-12-05T18:19:54.159" v="505" actId="2696"/>
          <ac:spMkLst>
            <pc:docMk/>
            <pc:sldMk cId="3556834676" sldId="336"/>
            <ac:spMk id="198" creationId="{A75403C5-1A74-4495-AA6C-B408E1E5FB97}"/>
          </ac:spMkLst>
        </pc:spChg>
        <pc:spChg chg="add">
          <ac:chgData name="Andy Roberts" userId="b6430d21-8e5e-4d9c-81e9-e1ae515d6d74" providerId="ADAL" clId="{356C853E-D027-4183-864D-1C71215F695F}" dt="2017-12-05T18:19:54.159" v="505" actId="2696"/>
          <ac:spMkLst>
            <pc:docMk/>
            <pc:sldMk cId="3556834676" sldId="336"/>
            <ac:spMk id="199" creationId="{EDC0456E-416D-4444-B412-57B83A17C09A}"/>
          </ac:spMkLst>
        </pc:spChg>
        <pc:spChg chg="add">
          <ac:chgData name="Andy Roberts" userId="b6430d21-8e5e-4d9c-81e9-e1ae515d6d74" providerId="ADAL" clId="{356C853E-D027-4183-864D-1C71215F695F}" dt="2017-12-05T18:19:54.159" v="505" actId="2696"/>
          <ac:spMkLst>
            <pc:docMk/>
            <pc:sldMk cId="3556834676" sldId="336"/>
            <ac:spMk id="200" creationId="{53D36D9A-AFF0-4C63-AA02-C36AC6BFD84A}"/>
          </ac:spMkLst>
        </pc:spChg>
        <pc:spChg chg="add">
          <ac:chgData name="Andy Roberts" userId="b6430d21-8e5e-4d9c-81e9-e1ae515d6d74" providerId="ADAL" clId="{356C853E-D027-4183-864D-1C71215F695F}" dt="2017-12-05T18:19:54.159" v="505" actId="2696"/>
          <ac:spMkLst>
            <pc:docMk/>
            <pc:sldMk cId="3556834676" sldId="336"/>
            <ac:spMk id="201" creationId="{2AB36011-3536-4EB9-9C81-AB7CF7B222D2}"/>
          </ac:spMkLst>
        </pc:spChg>
        <pc:spChg chg="add">
          <ac:chgData name="Andy Roberts" userId="b6430d21-8e5e-4d9c-81e9-e1ae515d6d74" providerId="ADAL" clId="{356C853E-D027-4183-864D-1C71215F695F}" dt="2017-12-05T18:19:54.159" v="505" actId="2696"/>
          <ac:spMkLst>
            <pc:docMk/>
            <pc:sldMk cId="3556834676" sldId="336"/>
            <ac:spMk id="202" creationId="{05AB54E7-9A29-4CA8-A46B-7B7E4CBFCB92}"/>
          </ac:spMkLst>
        </pc:spChg>
        <pc:spChg chg="add">
          <ac:chgData name="Andy Roberts" userId="b6430d21-8e5e-4d9c-81e9-e1ae515d6d74" providerId="ADAL" clId="{356C853E-D027-4183-864D-1C71215F695F}" dt="2017-12-05T18:19:54.159" v="505" actId="2696"/>
          <ac:spMkLst>
            <pc:docMk/>
            <pc:sldMk cId="3556834676" sldId="336"/>
            <ac:spMk id="203" creationId="{30B79746-8451-4FD7-B535-40693ABCA409}"/>
          </ac:spMkLst>
        </pc:spChg>
        <pc:spChg chg="add">
          <ac:chgData name="Andy Roberts" userId="b6430d21-8e5e-4d9c-81e9-e1ae515d6d74" providerId="ADAL" clId="{356C853E-D027-4183-864D-1C71215F695F}" dt="2017-12-05T18:19:54.159" v="505" actId="2696"/>
          <ac:spMkLst>
            <pc:docMk/>
            <pc:sldMk cId="3556834676" sldId="336"/>
            <ac:spMk id="204" creationId="{A693F18B-33BD-470C-8157-3339C981343D}"/>
          </ac:spMkLst>
        </pc:spChg>
        <pc:spChg chg="add">
          <ac:chgData name="Andy Roberts" userId="b6430d21-8e5e-4d9c-81e9-e1ae515d6d74" providerId="ADAL" clId="{356C853E-D027-4183-864D-1C71215F695F}" dt="2017-12-05T18:19:54.159" v="505" actId="2696"/>
          <ac:spMkLst>
            <pc:docMk/>
            <pc:sldMk cId="3556834676" sldId="336"/>
            <ac:spMk id="205" creationId="{52520E74-FBD9-4DC8-9BD6-C8F36DDF081D}"/>
          </ac:spMkLst>
        </pc:spChg>
        <pc:spChg chg="add">
          <ac:chgData name="Andy Roberts" userId="b6430d21-8e5e-4d9c-81e9-e1ae515d6d74" providerId="ADAL" clId="{356C853E-D027-4183-864D-1C71215F695F}" dt="2017-12-05T18:19:54.159" v="505" actId="2696"/>
          <ac:spMkLst>
            <pc:docMk/>
            <pc:sldMk cId="3556834676" sldId="336"/>
            <ac:spMk id="206" creationId="{52E9EE58-4C90-4E28-82B6-EB95950E846B}"/>
          </ac:spMkLst>
        </pc:spChg>
        <pc:spChg chg="add">
          <ac:chgData name="Andy Roberts" userId="b6430d21-8e5e-4d9c-81e9-e1ae515d6d74" providerId="ADAL" clId="{356C853E-D027-4183-864D-1C71215F695F}" dt="2017-12-05T18:19:54.159" v="505" actId="2696"/>
          <ac:spMkLst>
            <pc:docMk/>
            <pc:sldMk cId="3556834676" sldId="336"/>
            <ac:spMk id="207" creationId="{6C705455-4A57-40F4-9425-8F95E948EA9F}"/>
          </ac:spMkLst>
        </pc:spChg>
        <pc:spChg chg="add">
          <ac:chgData name="Andy Roberts" userId="b6430d21-8e5e-4d9c-81e9-e1ae515d6d74" providerId="ADAL" clId="{356C853E-D027-4183-864D-1C71215F695F}" dt="2017-12-05T18:19:54.159" v="505" actId="2696"/>
          <ac:spMkLst>
            <pc:docMk/>
            <pc:sldMk cId="3556834676" sldId="336"/>
            <ac:spMk id="208" creationId="{678C3193-E590-4A3B-9AA3-CE063428FCD6}"/>
          </ac:spMkLst>
        </pc:spChg>
        <pc:spChg chg="add">
          <ac:chgData name="Andy Roberts" userId="b6430d21-8e5e-4d9c-81e9-e1ae515d6d74" providerId="ADAL" clId="{356C853E-D027-4183-864D-1C71215F695F}" dt="2017-12-05T18:19:54.159" v="505" actId="2696"/>
          <ac:spMkLst>
            <pc:docMk/>
            <pc:sldMk cId="3556834676" sldId="336"/>
            <ac:spMk id="209" creationId="{BB4D56F6-202B-4FB6-BF73-9C0CA5AE56E3}"/>
          </ac:spMkLst>
        </pc:spChg>
        <pc:spChg chg="add">
          <ac:chgData name="Andy Roberts" userId="b6430d21-8e5e-4d9c-81e9-e1ae515d6d74" providerId="ADAL" clId="{356C853E-D027-4183-864D-1C71215F695F}" dt="2017-12-05T18:19:54.159" v="505" actId="2696"/>
          <ac:spMkLst>
            <pc:docMk/>
            <pc:sldMk cId="3556834676" sldId="336"/>
            <ac:spMk id="210" creationId="{0E7195E9-B744-43A4-A024-8A52B577DFFD}"/>
          </ac:spMkLst>
        </pc:spChg>
        <pc:spChg chg="add">
          <ac:chgData name="Andy Roberts" userId="b6430d21-8e5e-4d9c-81e9-e1ae515d6d74" providerId="ADAL" clId="{356C853E-D027-4183-864D-1C71215F695F}" dt="2017-12-05T18:19:54.159" v="505" actId="2696"/>
          <ac:spMkLst>
            <pc:docMk/>
            <pc:sldMk cId="3556834676" sldId="336"/>
            <ac:spMk id="211" creationId="{1808148C-9FD8-4E47-9FB7-B5AF9FADF81D}"/>
          </ac:spMkLst>
        </pc:spChg>
        <pc:spChg chg="add">
          <ac:chgData name="Andy Roberts" userId="b6430d21-8e5e-4d9c-81e9-e1ae515d6d74" providerId="ADAL" clId="{356C853E-D027-4183-864D-1C71215F695F}" dt="2017-12-05T18:19:54.159" v="505" actId="2696"/>
          <ac:spMkLst>
            <pc:docMk/>
            <pc:sldMk cId="3556834676" sldId="336"/>
            <ac:spMk id="212" creationId="{024E9EEA-9689-4AA1-ADA4-A6D80C1028B3}"/>
          </ac:spMkLst>
        </pc:spChg>
        <pc:spChg chg="add">
          <ac:chgData name="Andy Roberts" userId="b6430d21-8e5e-4d9c-81e9-e1ae515d6d74" providerId="ADAL" clId="{356C853E-D027-4183-864D-1C71215F695F}" dt="2017-12-05T18:19:54.159" v="505" actId="2696"/>
          <ac:spMkLst>
            <pc:docMk/>
            <pc:sldMk cId="3556834676" sldId="336"/>
            <ac:spMk id="213" creationId="{D4DEE529-910D-4651-8C44-D1B3CE32787A}"/>
          </ac:spMkLst>
        </pc:spChg>
        <pc:spChg chg="add">
          <ac:chgData name="Andy Roberts" userId="b6430d21-8e5e-4d9c-81e9-e1ae515d6d74" providerId="ADAL" clId="{356C853E-D027-4183-864D-1C71215F695F}" dt="2017-12-05T18:19:54.159" v="505" actId="2696"/>
          <ac:spMkLst>
            <pc:docMk/>
            <pc:sldMk cId="3556834676" sldId="336"/>
            <ac:spMk id="214" creationId="{5576008C-3943-46C4-8B44-F15A3C3252B0}"/>
          </ac:spMkLst>
        </pc:spChg>
        <pc:spChg chg="add">
          <ac:chgData name="Andy Roberts" userId="b6430d21-8e5e-4d9c-81e9-e1ae515d6d74" providerId="ADAL" clId="{356C853E-D027-4183-864D-1C71215F695F}" dt="2017-12-05T18:19:54.159" v="505" actId="2696"/>
          <ac:spMkLst>
            <pc:docMk/>
            <pc:sldMk cId="3556834676" sldId="336"/>
            <ac:spMk id="215" creationId="{D2377433-A480-4221-A540-C73A6FD5CF24}"/>
          </ac:spMkLst>
        </pc:spChg>
        <pc:spChg chg="add">
          <ac:chgData name="Andy Roberts" userId="b6430d21-8e5e-4d9c-81e9-e1ae515d6d74" providerId="ADAL" clId="{356C853E-D027-4183-864D-1C71215F695F}" dt="2017-12-05T18:19:54.159" v="505" actId="2696"/>
          <ac:spMkLst>
            <pc:docMk/>
            <pc:sldMk cId="3556834676" sldId="336"/>
            <ac:spMk id="216" creationId="{40D250E5-DE77-459B-A94F-D476C79E21FA}"/>
          </ac:spMkLst>
        </pc:spChg>
        <pc:spChg chg="add">
          <ac:chgData name="Andy Roberts" userId="b6430d21-8e5e-4d9c-81e9-e1ae515d6d74" providerId="ADAL" clId="{356C853E-D027-4183-864D-1C71215F695F}" dt="2017-12-05T18:19:54.159" v="505" actId="2696"/>
          <ac:spMkLst>
            <pc:docMk/>
            <pc:sldMk cId="3556834676" sldId="336"/>
            <ac:spMk id="217" creationId="{CF63DD77-9497-424A-B9BA-B13EDFD6C756}"/>
          </ac:spMkLst>
        </pc:spChg>
        <pc:spChg chg="add">
          <ac:chgData name="Andy Roberts" userId="b6430d21-8e5e-4d9c-81e9-e1ae515d6d74" providerId="ADAL" clId="{356C853E-D027-4183-864D-1C71215F695F}" dt="2017-12-05T18:19:54.159" v="505" actId="2696"/>
          <ac:spMkLst>
            <pc:docMk/>
            <pc:sldMk cId="3556834676" sldId="336"/>
            <ac:spMk id="218" creationId="{7DDF9F52-752F-43B3-BADB-A754962A7CA1}"/>
          </ac:spMkLst>
        </pc:spChg>
        <pc:spChg chg="add">
          <ac:chgData name="Andy Roberts" userId="b6430d21-8e5e-4d9c-81e9-e1ae515d6d74" providerId="ADAL" clId="{356C853E-D027-4183-864D-1C71215F695F}" dt="2017-12-05T18:19:54.159" v="505" actId="2696"/>
          <ac:spMkLst>
            <pc:docMk/>
            <pc:sldMk cId="3556834676" sldId="336"/>
            <ac:spMk id="219" creationId="{73D9BB93-BA1A-4E9B-93FD-1B5B1035564F}"/>
          </ac:spMkLst>
        </pc:spChg>
        <pc:spChg chg="add">
          <ac:chgData name="Andy Roberts" userId="b6430d21-8e5e-4d9c-81e9-e1ae515d6d74" providerId="ADAL" clId="{356C853E-D027-4183-864D-1C71215F695F}" dt="2017-12-05T18:19:54.159" v="505" actId="2696"/>
          <ac:spMkLst>
            <pc:docMk/>
            <pc:sldMk cId="3556834676" sldId="336"/>
            <ac:spMk id="220" creationId="{D9B65226-856C-4D39-9A6D-685F0117346E}"/>
          </ac:spMkLst>
        </pc:spChg>
        <pc:spChg chg="add">
          <ac:chgData name="Andy Roberts" userId="b6430d21-8e5e-4d9c-81e9-e1ae515d6d74" providerId="ADAL" clId="{356C853E-D027-4183-864D-1C71215F695F}" dt="2017-12-05T18:19:54.159" v="505" actId="2696"/>
          <ac:spMkLst>
            <pc:docMk/>
            <pc:sldMk cId="3556834676" sldId="336"/>
            <ac:spMk id="221" creationId="{1F5C34E5-4885-4382-94AB-E3B271DF92D6}"/>
          </ac:spMkLst>
        </pc:spChg>
        <pc:spChg chg="add">
          <ac:chgData name="Andy Roberts" userId="b6430d21-8e5e-4d9c-81e9-e1ae515d6d74" providerId="ADAL" clId="{356C853E-D027-4183-864D-1C71215F695F}" dt="2017-12-05T18:19:54.159" v="505" actId="2696"/>
          <ac:spMkLst>
            <pc:docMk/>
            <pc:sldMk cId="3556834676" sldId="336"/>
            <ac:spMk id="222" creationId="{07419A0A-B067-489A-AC34-04F7B07F996F}"/>
          </ac:spMkLst>
        </pc:spChg>
        <pc:spChg chg="add">
          <ac:chgData name="Andy Roberts" userId="b6430d21-8e5e-4d9c-81e9-e1ae515d6d74" providerId="ADAL" clId="{356C853E-D027-4183-864D-1C71215F695F}" dt="2017-12-05T18:19:54.159" v="505" actId="2696"/>
          <ac:spMkLst>
            <pc:docMk/>
            <pc:sldMk cId="3556834676" sldId="336"/>
            <ac:spMk id="223" creationId="{86686C77-C1DD-4E9D-B540-DA276A5145CE}"/>
          </ac:spMkLst>
        </pc:spChg>
        <pc:spChg chg="add">
          <ac:chgData name="Andy Roberts" userId="b6430d21-8e5e-4d9c-81e9-e1ae515d6d74" providerId="ADAL" clId="{356C853E-D027-4183-864D-1C71215F695F}" dt="2017-12-05T18:19:54.159" v="505" actId="2696"/>
          <ac:spMkLst>
            <pc:docMk/>
            <pc:sldMk cId="3556834676" sldId="336"/>
            <ac:spMk id="224" creationId="{47AF5772-2F59-491C-A3CB-135B8CF22172}"/>
          </ac:spMkLst>
        </pc:spChg>
        <pc:spChg chg="add">
          <ac:chgData name="Andy Roberts" userId="b6430d21-8e5e-4d9c-81e9-e1ae515d6d74" providerId="ADAL" clId="{356C853E-D027-4183-864D-1C71215F695F}" dt="2017-12-05T18:19:54.159" v="505" actId="2696"/>
          <ac:spMkLst>
            <pc:docMk/>
            <pc:sldMk cId="3556834676" sldId="336"/>
            <ac:spMk id="225" creationId="{14C322EE-EE6E-46A8-B703-644B261B8889}"/>
          </ac:spMkLst>
        </pc:spChg>
        <pc:spChg chg="add">
          <ac:chgData name="Andy Roberts" userId="b6430d21-8e5e-4d9c-81e9-e1ae515d6d74" providerId="ADAL" clId="{356C853E-D027-4183-864D-1C71215F695F}" dt="2017-12-05T18:19:54.159" v="505" actId="2696"/>
          <ac:spMkLst>
            <pc:docMk/>
            <pc:sldMk cId="3556834676" sldId="336"/>
            <ac:spMk id="226" creationId="{11317EF2-0E0D-45E2-B306-529DBB10EC2D}"/>
          </ac:spMkLst>
        </pc:spChg>
        <pc:spChg chg="add">
          <ac:chgData name="Andy Roberts" userId="b6430d21-8e5e-4d9c-81e9-e1ae515d6d74" providerId="ADAL" clId="{356C853E-D027-4183-864D-1C71215F695F}" dt="2017-12-05T18:19:54.159" v="505" actId="2696"/>
          <ac:spMkLst>
            <pc:docMk/>
            <pc:sldMk cId="3556834676" sldId="336"/>
            <ac:spMk id="227" creationId="{8A4706D9-CEB3-488A-A103-6C5AB1A3042F}"/>
          </ac:spMkLst>
        </pc:spChg>
        <pc:spChg chg="add">
          <ac:chgData name="Andy Roberts" userId="b6430d21-8e5e-4d9c-81e9-e1ae515d6d74" providerId="ADAL" clId="{356C853E-D027-4183-864D-1C71215F695F}" dt="2017-12-05T18:19:54.159" v="505" actId="2696"/>
          <ac:spMkLst>
            <pc:docMk/>
            <pc:sldMk cId="3556834676" sldId="336"/>
            <ac:spMk id="228" creationId="{3EA887D1-5342-44C4-A4E1-071BD43F12E2}"/>
          </ac:spMkLst>
        </pc:spChg>
        <pc:spChg chg="add">
          <ac:chgData name="Andy Roberts" userId="b6430d21-8e5e-4d9c-81e9-e1ae515d6d74" providerId="ADAL" clId="{356C853E-D027-4183-864D-1C71215F695F}" dt="2017-12-05T18:19:54.159" v="505" actId="2696"/>
          <ac:spMkLst>
            <pc:docMk/>
            <pc:sldMk cId="3556834676" sldId="336"/>
            <ac:spMk id="229" creationId="{350F65F3-07F0-49F4-A3AB-6E4317B03BD4}"/>
          </ac:spMkLst>
        </pc:spChg>
        <pc:spChg chg="add">
          <ac:chgData name="Andy Roberts" userId="b6430d21-8e5e-4d9c-81e9-e1ae515d6d74" providerId="ADAL" clId="{356C853E-D027-4183-864D-1C71215F695F}" dt="2017-12-05T18:19:54.159" v="505" actId="2696"/>
          <ac:spMkLst>
            <pc:docMk/>
            <pc:sldMk cId="3556834676" sldId="336"/>
            <ac:spMk id="230" creationId="{6182A1FD-F97D-46E6-91E4-CB466A6C58ED}"/>
          </ac:spMkLst>
        </pc:spChg>
        <pc:spChg chg="add">
          <ac:chgData name="Andy Roberts" userId="b6430d21-8e5e-4d9c-81e9-e1ae515d6d74" providerId="ADAL" clId="{356C853E-D027-4183-864D-1C71215F695F}" dt="2017-12-05T18:19:54.159" v="505" actId="2696"/>
          <ac:spMkLst>
            <pc:docMk/>
            <pc:sldMk cId="3556834676" sldId="336"/>
            <ac:spMk id="231" creationId="{DA2E380F-039A-4AF8-BA35-E9E9692E01D7}"/>
          </ac:spMkLst>
        </pc:spChg>
        <pc:spChg chg="add">
          <ac:chgData name="Andy Roberts" userId="b6430d21-8e5e-4d9c-81e9-e1ae515d6d74" providerId="ADAL" clId="{356C853E-D027-4183-864D-1C71215F695F}" dt="2017-12-05T18:19:54.159" v="505" actId="2696"/>
          <ac:spMkLst>
            <pc:docMk/>
            <pc:sldMk cId="3556834676" sldId="336"/>
            <ac:spMk id="232" creationId="{BA270817-B7F4-48A6-9053-B709F4433FC6}"/>
          </ac:spMkLst>
        </pc:spChg>
        <pc:spChg chg="add">
          <ac:chgData name="Andy Roberts" userId="b6430d21-8e5e-4d9c-81e9-e1ae515d6d74" providerId="ADAL" clId="{356C853E-D027-4183-864D-1C71215F695F}" dt="2017-12-05T18:19:54.159" v="505" actId="2696"/>
          <ac:spMkLst>
            <pc:docMk/>
            <pc:sldMk cId="3556834676" sldId="336"/>
            <ac:spMk id="233" creationId="{47A10DF5-A5F1-42AE-B44C-E34DCB5A6E9E}"/>
          </ac:spMkLst>
        </pc:spChg>
        <pc:spChg chg="add">
          <ac:chgData name="Andy Roberts" userId="b6430d21-8e5e-4d9c-81e9-e1ae515d6d74" providerId="ADAL" clId="{356C853E-D027-4183-864D-1C71215F695F}" dt="2017-12-05T18:19:54.159" v="505" actId="2696"/>
          <ac:spMkLst>
            <pc:docMk/>
            <pc:sldMk cId="3556834676" sldId="336"/>
            <ac:spMk id="234" creationId="{5B379875-B2C5-486E-BF11-0363BD58E5F4}"/>
          </ac:spMkLst>
        </pc:spChg>
        <pc:spChg chg="add">
          <ac:chgData name="Andy Roberts" userId="b6430d21-8e5e-4d9c-81e9-e1ae515d6d74" providerId="ADAL" clId="{356C853E-D027-4183-864D-1C71215F695F}" dt="2017-12-05T18:19:54.159" v="505" actId="2696"/>
          <ac:spMkLst>
            <pc:docMk/>
            <pc:sldMk cId="3556834676" sldId="336"/>
            <ac:spMk id="235" creationId="{8D5AC252-356B-4C83-B052-9D8907022941}"/>
          </ac:spMkLst>
        </pc:spChg>
        <pc:spChg chg="add">
          <ac:chgData name="Andy Roberts" userId="b6430d21-8e5e-4d9c-81e9-e1ae515d6d74" providerId="ADAL" clId="{356C853E-D027-4183-864D-1C71215F695F}" dt="2017-12-05T18:19:54.159" v="505" actId="2696"/>
          <ac:spMkLst>
            <pc:docMk/>
            <pc:sldMk cId="3556834676" sldId="336"/>
            <ac:spMk id="236" creationId="{08EA1E10-C644-485C-BF10-4CBB487F1962}"/>
          </ac:spMkLst>
        </pc:spChg>
        <pc:spChg chg="add">
          <ac:chgData name="Andy Roberts" userId="b6430d21-8e5e-4d9c-81e9-e1ae515d6d74" providerId="ADAL" clId="{356C853E-D027-4183-864D-1C71215F695F}" dt="2017-12-05T18:19:54.159" v="505" actId="2696"/>
          <ac:spMkLst>
            <pc:docMk/>
            <pc:sldMk cId="3556834676" sldId="336"/>
            <ac:spMk id="237" creationId="{4AB62DAE-56E4-4FE4-AA0F-2539F75E4485}"/>
          </ac:spMkLst>
        </pc:spChg>
        <pc:spChg chg="add">
          <ac:chgData name="Andy Roberts" userId="b6430d21-8e5e-4d9c-81e9-e1ae515d6d74" providerId="ADAL" clId="{356C853E-D027-4183-864D-1C71215F695F}" dt="2017-12-05T18:19:54.159" v="505" actId="2696"/>
          <ac:spMkLst>
            <pc:docMk/>
            <pc:sldMk cId="3556834676" sldId="336"/>
            <ac:spMk id="238" creationId="{3E936BCF-E1E0-4931-BDC5-BEFA97ED1FA0}"/>
          </ac:spMkLst>
        </pc:spChg>
        <pc:spChg chg="add">
          <ac:chgData name="Andy Roberts" userId="b6430d21-8e5e-4d9c-81e9-e1ae515d6d74" providerId="ADAL" clId="{356C853E-D027-4183-864D-1C71215F695F}" dt="2017-12-05T18:19:54.159" v="505" actId="2696"/>
          <ac:spMkLst>
            <pc:docMk/>
            <pc:sldMk cId="3556834676" sldId="336"/>
            <ac:spMk id="239" creationId="{72D9DF6F-4446-4242-B9D1-A46D6750716D}"/>
          </ac:spMkLst>
        </pc:spChg>
        <pc:spChg chg="add">
          <ac:chgData name="Andy Roberts" userId="b6430d21-8e5e-4d9c-81e9-e1ae515d6d74" providerId="ADAL" clId="{356C853E-D027-4183-864D-1C71215F695F}" dt="2017-12-05T18:19:54.159" v="505" actId="2696"/>
          <ac:spMkLst>
            <pc:docMk/>
            <pc:sldMk cId="3556834676" sldId="336"/>
            <ac:spMk id="240" creationId="{FDE3B0AB-3BEB-4B82-B461-D521DE779975}"/>
          </ac:spMkLst>
        </pc:spChg>
        <pc:spChg chg="add">
          <ac:chgData name="Andy Roberts" userId="b6430d21-8e5e-4d9c-81e9-e1ae515d6d74" providerId="ADAL" clId="{356C853E-D027-4183-864D-1C71215F695F}" dt="2017-12-05T18:19:54.159" v="505" actId="2696"/>
          <ac:spMkLst>
            <pc:docMk/>
            <pc:sldMk cId="3556834676" sldId="336"/>
            <ac:spMk id="241" creationId="{EC11677D-699D-4668-A2FE-AD4CD02D484D}"/>
          </ac:spMkLst>
        </pc:spChg>
        <pc:spChg chg="add">
          <ac:chgData name="Andy Roberts" userId="b6430d21-8e5e-4d9c-81e9-e1ae515d6d74" providerId="ADAL" clId="{356C853E-D027-4183-864D-1C71215F695F}" dt="2017-12-05T18:19:54.159" v="505" actId="2696"/>
          <ac:spMkLst>
            <pc:docMk/>
            <pc:sldMk cId="3556834676" sldId="336"/>
            <ac:spMk id="242" creationId="{5A9D95DD-9E4F-4E14-8106-2D857FC87AC2}"/>
          </ac:spMkLst>
        </pc:spChg>
        <pc:spChg chg="add">
          <ac:chgData name="Andy Roberts" userId="b6430d21-8e5e-4d9c-81e9-e1ae515d6d74" providerId="ADAL" clId="{356C853E-D027-4183-864D-1C71215F695F}" dt="2017-12-05T18:19:54.159" v="505" actId="2696"/>
          <ac:spMkLst>
            <pc:docMk/>
            <pc:sldMk cId="3556834676" sldId="336"/>
            <ac:spMk id="243" creationId="{37154589-CE43-4390-A718-989AB7B36486}"/>
          </ac:spMkLst>
        </pc:spChg>
        <pc:spChg chg="add">
          <ac:chgData name="Andy Roberts" userId="b6430d21-8e5e-4d9c-81e9-e1ae515d6d74" providerId="ADAL" clId="{356C853E-D027-4183-864D-1C71215F695F}" dt="2017-12-05T18:19:54.159" v="505" actId="2696"/>
          <ac:spMkLst>
            <pc:docMk/>
            <pc:sldMk cId="3556834676" sldId="336"/>
            <ac:spMk id="244" creationId="{DEDD237D-98FB-47AD-BAF2-A6FBFEF721B6}"/>
          </ac:spMkLst>
        </pc:spChg>
        <pc:spChg chg="add">
          <ac:chgData name="Andy Roberts" userId="b6430d21-8e5e-4d9c-81e9-e1ae515d6d74" providerId="ADAL" clId="{356C853E-D027-4183-864D-1C71215F695F}" dt="2017-12-05T18:19:54.159" v="505" actId="2696"/>
          <ac:spMkLst>
            <pc:docMk/>
            <pc:sldMk cId="3556834676" sldId="336"/>
            <ac:spMk id="245" creationId="{07538FC8-922D-461D-9C81-5093A104C258}"/>
          </ac:spMkLst>
        </pc:spChg>
        <pc:spChg chg="add">
          <ac:chgData name="Andy Roberts" userId="b6430d21-8e5e-4d9c-81e9-e1ae515d6d74" providerId="ADAL" clId="{356C853E-D027-4183-864D-1C71215F695F}" dt="2017-12-05T18:19:54.159" v="505" actId="2696"/>
          <ac:spMkLst>
            <pc:docMk/>
            <pc:sldMk cId="3556834676" sldId="336"/>
            <ac:spMk id="246" creationId="{E409115F-5BA2-4B88-9AB4-AE777FB6474B}"/>
          </ac:spMkLst>
        </pc:spChg>
        <pc:spChg chg="add">
          <ac:chgData name="Andy Roberts" userId="b6430d21-8e5e-4d9c-81e9-e1ae515d6d74" providerId="ADAL" clId="{356C853E-D027-4183-864D-1C71215F695F}" dt="2017-12-05T18:19:54.159" v="505" actId="2696"/>
          <ac:spMkLst>
            <pc:docMk/>
            <pc:sldMk cId="3556834676" sldId="336"/>
            <ac:spMk id="247" creationId="{F38F7688-6411-4901-B2F3-0978056BB958}"/>
          </ac:spMkLst>
        </pc:spChg>
        <pc:spChg chg="add">
          <ac:chgData name="Andy Roberts" userId="b6430d21-8e5e-4d9c-81e9-e1ae515d6d74" providerId="ADAL" clId="{356C853E-D027-4183-864D-1C71215F695F}" dt="2017-12-05T18:19:54.159" v="505" actId="2696"/>
          <ac:spMkLst>
            <pc:docMk/>
            <pc:sldMk cId="3556834676" sldId="336"/>
            <ac:spMk id="248" creationId="{2E395DFE-247F-43C9-8D3B-3A6DA39F3BB4}"/>
          </ac:spMkLst>
        </pc:spChg>
        <pc:spChg chg="add">
          <ac:chgData name="Andy Roberts" userId="b6430d21-8e5e-4d9c-81e9-e1ae515d6d74" providerId="ADAL" clId="{356C853E-D027-4183-864D-1C71215F695F}" dt="2017-12-05T18:19:54.159" v="505" actId="2696"/>
          <ac:spMkLst>
            <pc:docMk/>
            <pc:sldMk cId="3556834676" sldId="336"/>
            <ac:spMk id="249" creationId="{F594D032-9022-4A78-960C-0B5E9667AF02}"/>
          </ac:spMkLst>
        </pc:spChg>
        <pc:spChg chg="add">
          <ac:chgData name="Andy Roberts" userId="b6430d21-8e5e-4d9c-81e9-e1ae515d6d74" providerId="ADAL" clId="{356C853E-D027-4183-864D-1C71215F695F}" dt="2017-12-05T18:19:54.159" v="505" actId="2696"/>
          <ac:spMkLst>
            <pc:docMk/>
            <pc:sldMk cId="3556834676" sldId="336"/>
            <ac:spMk id="250" creationId="{497B369B-A656-491B-B09B-E46BE3AFDDBA}"/>
          </ac:spMkLst>
        </pc:spChg>
        <pc:spChg chg="add">
          <ac:chgData name="Andy Roberts" userId="b6430d21-8e5e-4d9c-81e9-e1ae515d6d74" providerId="ADAL" clId="{356C853E-D027-4183-864D-1C71215F695F}" dt="2017-12-05T18:19:54.159" v="505" actId="2696"/>
          <ac:spMkLst>
            <pc:docMk/>
            <pc:sldMk cId="3556834676" sldId="336"/>
            <ac:spMk id="251" creationId="{86992317-7AA2-43A2-A03A-8DE9C3E2DFA2}"/>
          </ac:spMkLst>
        </pc:spChg>
        <pc:spChg chg="add">
          <ac:chgData name="Andy Roberts" userId="b6430d21-8e5e-4d9c-81e9-e1ae515d6d74" providerId="ADAL" clId="{356C853E-D027-4183-864D-1C71215F695F}" dt="2017-12-05T18:19:54.159" v="505" actId="2696"/>
          <ac:spMkLst>
            <pc:docMk/>
            <pc:sldMk cId="3556834676" sldId="336"/>
            <ac:spMk id="252" creationId="{BD05AA06-C9D8-4E78-8BD2-6243E7EEC2D0}"/>
          </ac:spMkLst>
        </pc:spChg>
        <pc:spChg chg="add">
          <ac:chgData name="Andy Roberts" userId="b6430d21-8e5e-4d9c-81e9-e1ae515d6d74" providerId="ADAL" clId="{356C853E-D027-4183-864D-1C71215F695F}" dt="2017-12-05T18:19:54.159" v="505" actId="2696"/>
          <ac:spMkLst>
            <pc:docMk/>
            <pc:sldMk cId="3556834676" sldId="336"/>
            <ac:spMk id="253" creationId="{675E7E60-9335-40CA-8BE9-DE13F0097E9F}"/>
          </ac:spMkLst>
        </pc:spChg>
        <pc:spChg chg="add">
          <ac:chgData name="Andy Roberts" userId="b6430d21-8e5e-4d9c-81e9-e1ae515d6d74" providerId="ADAL" clId="{356C853E-D027-4183-864D-1C71215F695F}" dt="2017-12-05T18:19:54.159" v="505" actId="2696"/>
          <ac:spMkLst>
            <pc:docMk/>
            <pc:sldMk cId="3556834676" sldId="336"/>
            <ac:spMk id="254" creationId="{624F81FD-D5A7-4C6D-9860-4B02B2D017D2}"/>
          </ac:spMkLst>
        </pc:spChg>
        <pc:spChg chg="add">
          <ac:chgData name="Andy Roberts" userId="b6430d21-8e5e-4d9c-81e9-e1ae515d6d74" providerId="ADAL" clId="{356C853E-D027-4183-864D-1C71215F695F}" dt="2017-12-05T18:19:54.159" v="505" actId="2696"/>
          <ac:spMkLst>
            <pc:docMk/>
            <pc:sldMk cId="3556834676" sldId="336"/>
            <ac:spMk id="255" creationId="{3FF2EE35-36C4-42FE-8B2F-4D9B298FFAE4}"/>
          </ac:spMkLst>
        </pc:spChg>
        <pc:spChg chg="add">
          <ac:chgData name="Andy Roberts" userId="b6430d21-8e5e-4d9c-81e9-e1ae515d6d74" providerId="ADAL" clId="{356C853E-D027-4183-864D-1C71215F695F}" dt="2017-12-05T18:19:54.159" v="505" actId="2696"/>
          <ac:spMkLst>
            <pc:docMk/>
            <pc:sldMk cId="3556834676" sldId="336"/>
            <ac:spMk id="256" creationId="{F352C2F3-A571-496A-9A38-478C59532F66}"/>
          </ac:spMkLst>
        </pc:spChg>
        <pc:spChg chg="add">
          <ac:chgData name="Andy Roberts" userId="b6430d21-8e5e-4d9c-81e9-e1ae515d6d74" providerId="ADAL" clId="{356C853E-D027-4183-864D-1C71215F695F}" dt="2017-12-05T18:19:54.159" v="505" actId="2696"/>
          <ac:spMkLst>
            <pc:docMk/>
            <pc:sldMk cId="3556834676" sldId="336"/>
            <ac:spMk id="257" creationId="{452E27E6-F76D-43F3-8675-C9B7C290FC04}"/>
          </ac:spMkLst>
        </pc:spChg>
        <pc:spChg chg="add">
          <ac:chgData name="Andy Roberts" userId="b6430d21-8e5e-4d9c-81e9-e1ae515d6d74" providerId="ADAL" clId="{356C853E-D027-4183-864D-1C71215F695F}" dt="2017-12-05T18:19:54.159" v="505" actId="2696"/>
          <ac:spMkLst>
            <pc:docMk/>
            <pc:sldMk cId="3556834676" sldId="336"/>
            <ac:spMk id="258" creationId="{2FC224E8-4AFD-42C2-8385-32A2367E1F33}"/>
          </ac:spMkLst>
        </pc:spChg>
        <pc:spChg chg="add">
          <ac:chgData name="Andy Roberts" userId="b6430d21-8e5e-4d9c-81e9-e1ae515d6d74" providerId="ADAL" clId="{356C853E-D027-4183-864D-1C71215F695F}" dt="2017-12-05T18:19:54.159" v="505" actId="2696"/>
          <ac:spMkLst>
            <pc:docMk/>
            <pc:sldMk cId="3556834676" sldId="336"/>
            <ac:spMk id="259" creationId="{0A84D7A3-11AC-4B19-946B-F9A7E84DE550}"/>
          </ac:spMkLst>
        </pc:spChg>
        <pc:spChg chg="add">
          <ac:chgData name="Andy Roberts" userId="b6430d21-8e5e-4d9c-81e9-e1ae515d6d74" providerId="ADAL" clId="{356C853E-D027-4183-864D-1C71215F695F}" dt="2017-12-05T18:19:54.159" v="505" actId="2696"/>
          <ac:spMkLst>
            <pc:docMk/>
            <pc:sldMk cId="3556834676" sldId="336"/>
            <ac:spMk id="260" creationId="{7750E3EC-5095-467C-8F86-E45764943D17}"/>
          </ac:spMkLst>
        </pc:spChg>
        <pc:spChg chg="add">
          <ac:chgData name="Andy Roberts" userId="b6430d21-8e5e-4d9c-81e9-e1ae515d6d74" providerId="ADAL" clId="{356C853E-D027-4183-864D-1C71215F695F}" dt="2017-12-05T18:19:54.159" v="505" actId="2696"/>
          <ac:spMkLst>
            <pc:docMk/>
            <pc:sldMk cId="3556834676" sldId="336"/>
            <ac:spMk id="261" creationId="{296F1669-8349-4682-88FF-2A3BD81797E7}"/>
          </ac:spMkLst>
        </pc:spChg>
        <pc:spChg chg="add">
          <ac:chgData name="Andy Roberts" userId="b6430d21-8e5e-4d9c-81e9-e1ae515d6d74" providerId="ADAL" clId="{356C853E-D027-4183-864D-1C71215F695F}" dt="2017-12-05T18:19:54.159" v="505" actId="2696"/>
          <ac:spMkLst>
            <pc:docMk/>
            <pc:sldMk cId="3556834676" sldId="336"/>
            <ac:spMk id="262" creationId="{26C4B5EE-99D5-4A84-A777-2832FEE241C0}"/>
          </ac:spMkLst>
        </pc:spChg>
        <pc:spChg chg="add">
          <ac:chgData name="Andy Roberts" userId="b6430d21-8e5e-4d9c-81e9-e1ae515d6d74" providerId="ADAL" clId="{356C853E-D027-4183-864D-1C71215F695F}" dt="2017-12-05T18:19:54.159" v="505" actId="2696"/>
          <ac:spMkLst>
            <pc:docMk/>
            <pc:sldMk cId="3556834676" sldId="336"/>
            <ac:spMk id="263" creationId="{136E3811-D614-466A-AE7B-B71C8E9DD601}"/>
          </ac:spMkLst>
        </pc:spChg>
        <pc:spChg chg="add">
          <ac:chgData name="Andy Roberts" userId="b6430d21-8e5e-4d9c-81e9-e1ae515d6d74" providerId="ADAL" clId="{356C853E-D027-4183-864D-1C71215F695F}" dt="2017-12-05T18:19:54.159" v="505" actId="2696"/>
          <ac:spMkLst>
            <pc:docMk/>
            <pc:sldMk cId="3556834676" sldId="336"/>
            <ac:spMk id="264" creationId="{45F3BFD7-D45D-463B-B3AC-28DF582624AF}"/>
          </ac:spMkLst>
        </pc:spChg>
        <pc:spChg chg="add">
          <ac:chgData name="Andy Roberts" userId="b6430d21-8e5e-4d9c-81e9-e1ae515d6d74" providerId="ADAL" clId="{356C853E-D027-4183-864D-1C71215F695F}" dt="2017-12-05T18:19:54.159" v="505" actId="2696"/>
          <ac:spMkLst>
            <pc:docMk/>
            <pc:sldMk cId="3556834676" sldId="336"/>
            <ac:spMk id="265" creationId="{D29ABF6E-8336-4F78-8022-269577BA610E}"/>
          </ac:spMkLst>
        </pc:spChg>
        <pc:spChg chg="add">
          <ac:chgData name="Andy Roberts" userId="b6430d21-8e5e-4d9c-81e9-e1ae515d6d74" providerId="ADAL" clId="{356C853E-D027-4183-864D-1C71215F695F}" dt="2017-12-05T18:19:54.159" v="505" actId="2696"/>
          <ac:spMkLst>
            <pc:docMk/>
            <pc:sldMk cId="3556834676" sldId="336"/>
            <ac:spMk id="266" creationId="{128365E6-7B69-44C4-BAE6-406DC18B67A5}"/>
          </ac:spMkLst>
        </pc:spChg>
        <pc:spChg chg="add">
          <ac:chgData name="Andy Roberts" userId="b6430d21-8e5e-4d9c-81e9-e1ae515d6d74" providerId="ADAL" clId="{356C853E-D027-4183-864D-1C71215F695F}" dt="2017-12-05T18:19:54.159" v="505" actId="2696"/>
          <ac:spMkLst>
            <pc:docMk/>
            <pc:sldMk cId="3556834676" sldId="336"/>
            <ac:spMk id="267" creationId="{9CD3D034-0029-4DF9-968E-715CCDB456B8}"/>
          </ac:spMkLst>
        </pc:spChg>
        <pc:spChg chg="add">
          <ac:chgData name="Andy Roberts" userId="b6430d21-8e5e-4d9c-81e9-e1ae515d6d74" providerId="ADAL" clId="{356C853E-D027-4183-864D-1C71215F695F}" dt="2017-12-05T18:19:54.159" v="505" actId="2696"/>
          <ac:spMkLst>
            <pc:docMk/>
            <pc:sldMk cId="3556834676" sldId="336"/>
            <ac:spMk id="268" creationId="{60C7EBCA-F37A-4C8E-BE8A-C996AB412F02}"/>
          </ac:spMkLst>
        </pc:spChg>
        <pc:spChg chg="add">
          <ac:chgData name="Andy Roberts" userId="b6430d21-8e5e-4d9c-81e9-e1ae515d6d74" providerId="ADAL" clId="{356C853E-D027-4183-864D-1C71215F695F}" dt="2017-12-05T18:19:54.159" v="505" actId="2696"/>
          <ac:spMkLst>
            <pc:docMk/>
            <pc:sldMk cId="3556834676" sldId="336"/>
            <ac:spMk id="269" creationId="{B6C3B1A1-5EB6-4853-BEF9-7CE2E6ED43AC}"/>
          </ac:spMkLst>
        </pc:spChg>
        <pc:spChg chg="add">
          <ac:chgData name="Andy Roberts" userId="b6430d21-8e5e-4d9c-81e9-e1ae515d6d74" providerId="ADAL" clId="{356C853E-D027-4183-864D-1C71215F695F}" dt="2017-12-05T18:19:54.159" v="505" actId="2696"/>
          <ac:spMkLst>
            <pc:docMk/>
            <pc:sldMk cId="3556834676" sldId="336"/>
            <ac:spMk id="270" creationId="{B512285F-25EC-4A08-A3D0-F01978CDC7A4}"/>
          </ac:spMkLst>
        </pc:spChg>
        <pc:spChg chg="add">
          <ac:chgData name="Andy Roberts" userId="b6430d21-8e5e-4d9c-81e9-e1ae515d6d74" providerId="ADAL" clId="{356C853E-D027-4183-864D-1C71215F695F}" dt="2017-12-05T18:19:54.159" v="505" actId="2696"/>
          <ac:spMkLst>
            <pc:docMk/>
            <pc:sldMk cId="3556834676" sldId="336"/>
            <ac:spMk id="271" creationId="{BA2BD50F-290B-456A-B025-08E1069553D1}"/>
          </ac:spMkLst>
        </pc:spChg>
        <pc:spChg chg="add">
          <ac:chgData name="Andy Roberts" userId="b6430d21-8e5e-4d9c-81e9-e1ae515d6d74" providerId="ADAL" clId="{356C853E-D027-4183-864D-1C71215F695F}" dt="2017-12-05T18:19:54.159" v="505" actId="2696"/>
          <ac:spMkLst>
            <pc:docMk/>
            <pc:sldMk cId="3556834676" sldId="336"/>
            <ac:spMk id="272" creationId="{9BDDDA48-0ECF-4D72-B116-29C25D841B79}"/>
          </ac:spMkLst>
        </pc:spChg>
        <pc:spChg chg="add">
          <ac:chgData name="Andy Roberts" userId="b6430d21-8e5e-4d9c-81e9-e1ae515d6d74" providerId="ADAL" clId="{356C853E-D027-4183-864D-1C71215F695F}" dt="2017-12-05T18:19:54.159" v="505" actId="2696"/>
          <ac:spMkLst>
            <pc:docMk/>
            <pc:sldMk cId="3556834676" sldId="336"/>
            <ac:spMk id="273" creationId="{F2F66BE4-31E7-4F7F-95AA-F34721BC5D85}"/>
          </ac:spMkLst>
        </pc:spChg>
        <pc:spChg chg="add">
          <ac:chgData name="Andy Roberts" userId="b6430d21-8e5e-4d9c-81e9-e1ae515d6d74" providerId="ADAL" clId="{356C853E-D027-4183-864D-1C71215F695F}" dt="2017-12-05T18:19:54.159" v="505" actId="2696"/>
          <ac:spMkLst>
            <pc:docMk/>
            <pc:sldMk cId="3556834676" sldId="336"/>
            <ac:spMk id="274" creationId="{E1782458-961D-4863-9892-0B8106C0E8E0}"/>
          </ac:spMkLst>
        </pc:spChg>
        <pc:spChg chg="add">
          <ac:chgData name="Andy Roberts" userId="b6430d21-8e5e-4d9c-81e9-e1ae515d6d74" providerId="ADAL" clId="{356C853E-D027-4183-864D-1C71215F695F}" dt="2017-12-05T18:19:54.159" v="505" actId="2696"/>
          <ac:spMkLst>
            <pc:docMk/>
            <pc:sldMk cId="3556834676" sldId="336"/>
            <ac:spMk id="275" creationId="{6DD6BA6C-0462-4E3D-BE83-C41C62D83641}"/>
          </ac:spMkLst>
        </pc:spChg>
        <pc:spChg chg="add">
          <ac:chgData name="Andy Roberts" userId="b6430d21-8e5e-4d9c-81e9-e1ae515d6d74" providerId="ADAL" clId="{356C853E-D027-4183-864D-1C71215F695F}" dt="2017-12-05T18:19:54.159" v="505" actId="2696"/>
          <ac:spMkLst>
            <pc:docMk/>
            <pc:sldMk cId="3556834676" sldId="336"/>
            <ac:spMk id="276" creationId="{7819990B-6224-4220-93B0-57803FC20F24}"/>
          </ac:spMkLst>
        </pc:spChg>
        <pc:spChg chg="add">
          <ac:chgData name="Andy Roberts" userId="b6430d21-8e5e-4d9c-81e9-e1ae515d6d74" providerId="ADAL" clId="{356C853E-D027-4183-864D-1C71215F695F}" dt="2017-12-05T18:19:54.159" v="505" actId="2696"/>
          <ac:spMkLst>
            <pc:docMk/>
            <pc:sldMk cId="3556834676" sldId="336"/>
            <ac:spMk id="277" creationId="{898546E9-1E4B-4184-BAC3-2633E0DD6E13}"/>
          </ac:spMkLst>
        </pc:spChg>
        <pc:spChg chg="add">
          <ac:chgData name="Andy Roberts" userId="b6430d21-8e5e-4d9c-81e9-e1ae515d6d74" providerId="ADAL" clId="{356C853E-D027-4183-864D-1C71215F695F}" dt="2017-12-05T18:19:54.159" v="505" actId="2696"/>
          <ac:spMkLst>
            <pc:docMk/>
            <pc:sldMk cId="3556834676" sldId="336"/>
            <ac:spMk id="278" creationId="{AF200A1E-A49A-4216-9B3E-FC841B234D8C}"/>
          </ac:spMkLst>
        </pc:spChg>
        <pc:spChg chg="add">
          <ac:chgData name="Andy Roberts" userId="b6430d21-8e5e-4d9c-81e9-e1ae515d6d74" providerId="ADAL" clId="{356C853E-D027-4183-864D-1C71215F695F}" dt="2017-12-05T18:19:54.159" v="505" actId="2696"/>
          <ac:spMkLst>
            <pc:docMk/>
            <pc:sldMk cId="3556834676" sldId="336"/>
            <ac:spMk id="279" creationId="{39B8402A-4BED-45F5-BCA5-A2AFB2AC04C2}"/>
          </ac:spMkLst>
        </pc:spChg>
        <pc:spChg chg="add">
          <ac:chgData name="Andy Roberts" userId="b6430d21-8e5e-4d9c-81e9-e1ae515d6d74" providerId="ADAL" clId="{356C853E-D027-4183-864D-1C71215F695F}" dt="2017-12-05T18:19:54.159" v="505" actId="2696"/>
          <ac:spMkLst>
            <pc:docMk/>
            <pc:sldMk cId="3556834676" sldId="336"/>
            <ac:spMk id="280" creationId="{E18291BB-DFBA-4AFE-8506-F4CB56FE2E60}"/>
          </ac:spMkLst>
        </pc:spChg>
        <pc:spChg chg="add">
          <ac:chgData name="Andy Roberts" userId="b6430d21-8e5e-4d9c-81e9-e1ae515d6d74" providerId="ADAL" clId="{356C853E-D027-4183-864D-1C71215F695F}" dt="2017-12-05T18:19:54.159" v="505" actId="2696"/>
          <ac:spMkLst>
            <pc:docMk/>
            <pc:sldMk cId="3556834676" sldId="336"/>
            <ac:spMk id="281" creationId="{A71FE51A-FE1E-4ED2-927A-BFEA13468D75}"/>
          </ac:spMkLst>
        </pc:spChg>
        <pc:spChg chg="add">
          <ac:chgData name="Andy Roberts" userId="b6430d21-8e5e-4d9c-81e9-e1ae515d6d74" providerId="ADAL" clId="{356C853E-D027-4183-864D-1C71215F695F}" dt="2017-12-05T18:19:54.159" v="505" actId="2696"/>
          <ac:spMkLst>
            <pc:docMk/>
            <pc:sldMk cId="3556834676" sldId="336"/>
            <ac:spMk id="282" creationId="{82527172-3C3B-4C1E-995F-05A5AE7D7FB2}"/>
          </ac:spMkLst>
        </pc:spChg>
        <pc:spChg chg="add">
          <ac:chgData name="Andy Roberts" userId="b6430d21-8e5e-4d9c-81e9-e1ae515d6d74" providerId="ADAL" clId="{356C853E-D027-4183-864D-1C71215F695F}" dt="2017-12-05T18:19:54.159" v="505" actId="2696"/>
          <ac:spMkLst>
            <pc:docMk/>
            <pc:sldMk cId="3556834676" sldId="336"/>
            <ac:spMk id="283" creationId="{B5B13047-0A81-4C16-B919-630F76B7C317}"/>
          </ac:spMkLst>
        </pc:spChg>
        <pc:spChg chg="add">
          <ac:chgData name="Andy Roberts" userId="b6430d21-8e5e-4d9c-81e9-e1ae515d6d74" providerId="ADAL" clId="{356C853E-D027-4183-864D-1C71215F695F}" dt="2017-12-05T18:19:54.159" v="505" actId="2696"/>
          <ac:spMkLst>
            <pc:docMk/>
            <pc:sldMk cId="3556834676" sldId="336"/>
            <ac:spMk id="284" creationId="{1B9550CE-AE4E-4763-8CF4-1400D4968E42}"/>
          </ac:spMkLst>
        </pc:spChg>
        <pc:spChg chg="add">
          <ac:chgData name="Andy Roberts" userId="b6430d21-8e5e-4d9c-81e9-e1ae515d6d74" providerId="ADAL" clId="{356C853E-D027-4183-864D-1C71215F695F}" dt="2017-12-05T18:19:54.159" v="505" actId="2696"/>
          <ac:spMkLst>
            <pc:docMk/>
            <pc:sldMk cId="3556834676" sldId="336"/>
            <ac:spMk id="285" creationId="{FA38F423-FCE3-4F72-B18E-67702E6B052A}"/>
          </ac:spMkLst>
        </pc:spChg>
        <pc:spChg chg="add">
          <ac:chgData name="Andy Roberts" userId="b6430d21-8e5e-4d9c-81e9-e1ae515d6d74" providerId="ADAL" clId="{356C853E-D027-4183-864D-1C71215F695F}" dt="2017-12-05T18:19:54.159" v="505" actId="2696"/>
          <ac:spMkLst>
            <pc:docMk/>
            <pc:sldMk cId="3556834676" sldId="336"/>
            <ac:spMk id="286" creationId="{9078117D-6CBC-4848-8B2E-B18AB833E9F2}"/>
          </ac:spMkLst>
        </pc:spChg>
        <pc:spChg chg="add">
          <ac:chgData name="Andy Roberts" userId="b6430d21-8e5e-4d9c-81e9-e1ae515d6d74" providerId="ADAL" clId="{356C853E-D027-4183-864D-1C71215F695F}" dt="2017-12-05T18:19:54.159" v="505" actId="2696"/>
          <ac:spMkLst>
            <pc:docMk/>
            <pc:sldMk cId="3556834676" sldId="336"/>
            <ac:spMk id="287" creationId="{6FB3D269-DB05-4156-8C68-709CDF32B1EF}"/>
          </ac:spMkLst>
        </pc:spChg>
        <pc:spChg chg="add">
          <ac:chgData name="Andy Roberts" userId="b6430d21-8e5e-4d9c-81e9-e1ae515d6d74" providerId="ADAL" clId="{356C853E-D027-4183-864D-1C71215F695F}" dt="2017-12-05T18:19:54.159" v="505" actId="2696"/>
          <ac:spMkLst>
            <pc:docMk/>
            <pc:sldMk cId="3556834676" sldId="336"/>
            <ac:spMk id="288" creationId="{48486FDE-C241-4A83-969B-A35BB1FF0438}"/>
          </ac:spMkLst>
        </pc:spChg>
        <pc:spChg chg="add">
          <ac:chgData name="Andy Roberts" userId="b6430d21-8e5e-4d9c-81e9-e1ae515d6d74" providerId="ADAL" clId="{356C853E-D027-4183-864D-1C71215F695F}" dt="2017-12-05T18:19:54.159" v="505" actId="2696"/>
          <ac:spMkLst>
            <pc:docMk/>
            <pc:sldMk cId="3556834676" sldId="336"/>
            <ac:spMk id="289" creationId="{17A5199B-FA01-4FB6-9AFF-8592BDB536BE}"/>
          </ac:spMkLst>
        </pc:spChg>
        <pc:spChg chg="add">
          <ac:chgData name="Andy Roberts" userId="b6430d21-8e5e-4d9c-81e9-e1ae515d6d74" providerId="ADAL" clId="{356C853E-D027-4183-864D-1C71215F695F}" dt="2017-12-05T18:19:54.159" v="505" actId="2696"/>
          <ac:spMkLst>
            <pc:docMk/>
            <pc:sldMk cId="3556834676" sldId="336"/>
            <ac:spMk id="290" creationId="{EEA896E3-15D7-4632-BAC0-7AAA10E90919}"/>
          </ac:spMkLst>
        </pc:spChg>
        <pc:spChg chg="add">
          <ac:chgData name="Andy Roberts" userId="b6430d21-8e5e-4d9c-81e9-e1ae515d6d74" providerId="ADAL" clId="{356C853E-D027-4183-864D-1C71215F695F}" dt="2017-12-05T18:19:54.159" v="505" actId="2696"/>
          <ac:spMkLst>
            <pc:docMk/>
            <pc:sldMk cId="3556834676" sldId="336"/>
            <ac:spMk id="291" creationId="{0D4B130E-4987-413F-8450-A0A2E0A78EEE}"/>
          </ac:spMkLst>
        </pc:spChg>
        <pc:spChg chg="add">
          <ac:chgData name="Andy Roberts" userId="b6430d21-8e5e-4d9c-81e9-e1ae515d6d74" providerId="ADAL" clId="{356C853E-D027-4183-864D-1C71215F695F}" dt="2017-12-05T18:19:54.159" v="505" actId="2696"/>
          <ac:spMkLst>
            <pc:docMk/>
            <pc:sldMk cId="3556834676" sldId="336"/>
            <ac:spMk id="292" creationId="{5759A342-CEE3-4606-913D-67620D3386EB}"/>
          </ac:spMkLst>
        </pc:spChg>
        <pc:spChg chg="add">
          <ac:chgData name="Andy Roberts" userId="b6430d21-8e5e-4d9c-81e9-e1ae515d6d74" providerId="ADAL" clId="{356C853E-D027-4183-864D-1C71215F695F}" dt="2017-12-05T18:19:54.159" v="505" actId="2696"/>
          <ac:spMkLst>
            <pc:docMk/>
            <pc:sldMk cId="3556834676" sldId="336"/>
            <ac:spMk id="293" creationId="{6257CC59-751F-4677-AE75-89BAA4E74A5E}"/>
          </ac:spMkLst>
        </pc:spChg>
        <pc:spChg chg="add del">
          <ac:chgData name="Andy Roberts" userId="b6430d21-8e5e-4d9c-81e9-e1ae515d6d74" providerId="ADAL" clId="{356C853E-D027-4183-864D-1C71215F695F}" dt="2017-12-05T18:20:05.617" v="511" actId="478"/>
          <ac:spMkLst>
            <pc:docMk/>
            <pc:sldMk cId="3556834676" sldId="336"/>
            <ac:spMk id="294" creationId="{D80894F9-B593-417A-8B1F-5D9E0C8523CE}"/>
          </ac:spMkLst>
        </pc:spChg>
        <pc:spChg chg="add del">
          <ac:chgData name="Andy Roberts" userId="b6430d21-8e5e-4d9c-81e9-e1ae515d6d74" providerId="ADAL" clId="{356C853E-D027-4183-864D-1C71215F695F}" dt="2017-12-05T18:20:05.617" v="511" actId="478"/>
          <ac:spMkLst>
            <pc:docMk/>
            <pc:sldMk cId="3556834676" sldId="336"/>
            <ac:spMk id="295" creationId="{BFF87B06-AA7D-4145-B8BA-2F4BED773512}"/>
          </ac:spMkLst>
        </pc:spChg>
        <pc:spChg chg="add del">
          <ac:chgData name="Andy Roberts" userId="b6430d21-8e5e-4d9c-81e9-e1ae515d6d74" providerId="ADAL" clId="{356C853E-D027-4183-864D-1C71215F695F}" dt="2017-12-05T18:20:05.617" v="511" actId="478"/>
          <ac:spMkLst>
            <pc:docMk/>
            <pc:sldMk cId="3556834676" sldId="336"/>
            <ac:spMk id="297" creationId="{11FEE322-2E04-47C7-A4B5-6D246437F5F2}"/>
          </ac:spMkLst>
        </pc:spChg>
        <pc:spChg chg="add del">
          <ac:chgData name="Andy Roberts" userId="b6430d21-8e5e-4d9c-81e9-e1ae515d6d74" providerId="ADAL" clId="{356C853E-D027-4183-864D-1C71215F695F}" dt="2017-12-05T18:20:05.617" v="511" actId="478"/>
          <ac:spMkLst>
            <pc:docMk/>
            <pc:sldMk cId="3556834676" sldId="336"/>
            <ac:spMk id="298" creationId="{968878C8-37DB-4DC4-9BAB-2341240239D9}"/>
          </ac:spMkLst>
        </pc:spChg>
        <pc:spChg chg="add del">
          <ac:chgData name="Andy Roberts" userId="b6430d21-8e5e-4d9c-81e9-e1ae515d6d74" providerId="ADAL" clId="{356C853E-D027-4183-864D-1C71215F695F}" dt="2017-12-05T18:20:05.617" v="511" actId="478"/>
          <ac:spMkLst>
            <pc:docMk/>
            <pc:sldMk cId="3556834676" sldId="336"/>
            <ac:spMk id="299" creationId="{83206026-200B-43E7-8635-52491ECDAD56}"/>
          </ac:spMkLst>
        </pc:spChg>
        <pc:spChg chg="add del">
          <ac:chgData name="Andy Roberts" userId="b6430d21-8e5e-4d9c-81e9-e1ae515d6d74" providerId="ADAL" clId="{356C853E-D027-4183-864D-1C71215F695F}" dt="2017-12-05T18:20:05.617" v="511" actId="478"/>
          <ac:spMkLst>
            <pc:docMk/>
            <pc:sldMk cId="3556834676" sldId="336"/>
            <ac:spMk id="300" creationId="{37B0EE01-6F7A-433E-9FFD-440B4EC0170B}"/>
          </ac:spMkLst>
        </pc:spChg>
        <pc:spChg chg="add del">
          <ac:chgData name="Andy Roberts" userId="b6430d21-8e5e-4d9c-81e9-e1ae515d6d74" providerId="ADAL" clId="{356C853E-D027-4183-864D-1C71215F695F}" dt="2017-12-05T18:20:05.617" v="511" actId="478"/>
          <ac:spMkLst>
            <pc:docMk/>
            <pc:sldMk cId="3556834676" sldId="336"/>
            <ac:spMk id="301" creationId="{F539F26E-0A06-4A8F-8074-2DF714F20F81}"/>
          </ac:spMkLst>
        </pc:spChg>
        <pc:spChg chg="add del">
          <ac:chgData name="Andy Roberts" userId="b6430d21-8e5e-4d9c-81e9-e1ae515d6d74" providerId="ADAL" clId="{356C853E-D027-4183-864D-1C71215F695F}" dt="2017-12-05T18:20:05.617" v="511" actId="478"/>
          <ac:spMkLst>
            <pc:docMk/>
            <pc:sldMk cId="3556834676" sldId="336"/>
            <ac:spMk id="302" creationId="{9817C658-8931-4CCE-A516-5F1B91E6AA77}"/>
          </ac:spMkLst>
        </pc:spChg>
        <pc:spChg chg="add del">
          <ac:chgData name="Andy Roberts" userId="b6430d21-8e5e-4d9c-81e9-e1ae515d6d74" providerId="ADAL" clId="{356C853E-D027-4183-864D-1C71215F695F}" dt="2017-12-05T18:20:05.617" v="511" actId="478"/>
          <ac:spMkLst>
            <pc:docMk/>
            <pc:sldMk cId="3556834676" sldId="336"/>
            <ac:spMk id="303" creationId="{AF327F79-5149-4DA2-ACB0-8B2712F44547}"/>
          </ac:spMkLst>
        </pc:spChg>
        <pc:spChg chg="add del">
          <ac:chgData name="Andy Roberts" userId="b6430d21-8e5e-4d9c-81e9-e1ae515d6d74" providerId="ADAL" clId="{356C853E-D027-4183-864D-1C71215F695F}" dt="2017-12-05T18:20:05.617" v="511" actId="478"/>
          <ac:spMkLst>
            <pc:docMk/>
            <pc:sldMk cId="3556834676" sldId="336"/>
            <ac:spMk id="304" creationId="{157CE6C6-38D1-4299-AE6C-E126BF2E9ECD}"/>
          </ac:spMkLst>
        </pc:spChg>
        <pc:spChg chg="add del">
          <ac:chgData name="Andy Roberts" userId="b6430d21-8e5e-4d9c-81e9-e1ae515d6d74" providerId="ADAL" clId="{356C853E-D027-4183-864D-1C71215F695F}" dt="2017-12-05T18:20:05.617" v="511" actId="478"/>
          <ac:spMkLst>
            <pc:docMk/>
            <pc:sldMk cId="3556834676" sldId="336"/>
            <ac:spMk id="305" creationId="{0044AA67-5EF0-44BE-A0A3-1024A4B76219}"/>
          </ac:spMkLst>
        </pc:spChg>
        <pc:spChg chg="add del">
          <ac:chgData name="Andy Roberts" userId="b6430d21-8e5e-4d9c-81e9-e1ae515d6d74" providerId="ADAL" clId="{356C853E-D027-4183-864D-1C71215F695F}" dt="2017-12-05T18:20:05.617" v="511" actId="478"/>
          <ac:spMkLst>
            <pc:docMk/>
            <pc:sldMk cId="3556834676" sldId="336"/>
            <ac:spMk id="306" creationId="{24276052-29F3-42EF-B404-5CB30AD3FF9A}"/>
          </ac:spMkLst>
        </pc:spChg>
        <pc:spChg chg="add del">
          <ac:chgData name="Andy Roberts" userId="b6430d21-8e5e-4d9c-81e9-e1ae515d6d74" providerId="ADAL" clId="{356C853E-D027-4183-864D-1C71215F695F}" dt="2017-12-05T18:20:05.617" v="511" actId="478"/>
          <ac:spMkLst>
            <pc:docMk/>
            <pc:sldMk cId="3556834676" sldId="336"/>
            <ac:spMk id="310" creationId="{DEDDA6A1-3BA6-46AF-8C24-09F2F13CE66F}"/>
          </ac:spMkLst>
        </pc:spChg>
        <pc:spChg chg="add del">
          <ac:chgData name="Andy Roberts" userId="b6430d21-8e5e-4d9c-81e9-e1ae515d6d74" providerId="ADAL" clId="{356C853E-D027-4183-864D-1C71215F695F}" dt="2017-12-05T18:20:05.617" v="511" actId="478"/>
          <ac:spMkLst>
            <pc:docMk/>
            <pc:sldMk cId="3556834676" sldId="336"/>
            <ac:spMk id="311" creationId="{18AC1745-8E8B-4665-AB6F-0F20CB2B50AF}"/>
          </ac:spMkLst>
        </pc:spChg>
        <pc:spChg chg="add del">
          <ac:chgData name="Andy Roberts" userId="b6430d21-8e5e-4d9c-81e9-e1ae515d6d74" providerId="ADAL" clId="{356C853E-D027-4183-864D-1C71215F695F}" dt="2017-12-05T18:20:05.617" v="511" actId="478"/>
          <ac:spMkLst>
            <pc:docMk/>
            <pc:sldMk cId="3556834676" sldId="336"/>
            <ac:spMk id="312" creationId="{C57A70FA-D688-457E-B04D-55A1199667B2}"/>
          </ac:spMkLst>
        </pc:spChg>
        <pc:spChg chg="add del">
          <ac:chgData name="Andy Roberts" userId="b6430d21-8e5e-4d9c-81e9-e1ae515d6d74" providerId="ADAL" clId="{356C853E-D027-4183-864D-1C71215F695F}" dt="2017-12-05T18:20:05.617" v="511" actId="478"/>
          <ac:spMkLst>
            <pc:docMk/>
            <pc:sldMk cId="3556834676" sldId="336"/>
            <ac:spMk id="313" creationId="{F64EECBA-FB6E-49CB-B5AE-A4D7EE3152F2}"/>
          </ac:spMkLst>
        </pc:spChg>
        <pc:spChg chg="add del">
          <ac:chgData name="Andy Roberts" userId="b6430d21-8e5e-4d9c-81e9-e1ae515d6d74" providerId="ADAL" clId="{356C853E-D027-4183-864D-1C71215F695F}" dt="2017-12-05T18:20:05.617" v="511" actId="478"/>
          <ac:spMkLst>
            <pc:docMk/>
            <pc:sldMk cId="3556834676" sldId="336"/>
            <ac:spMk id="314" creationId="{7EFA39B1-EEB2-45A3-B355-E1FF10405B2E}"/>
          </ac:spMkLst>
        </pc:spChg>
        <pc:spChg chg="add del">
          <ac:chgData name="Andy Roberts" userId="b6430d21-8e5e-4d9c-81e9-e1ae515d6d74" providerId="ADAL" clId="{356C853E-D027-4183-864D-1C71215F695F}" dt="2017-12-05T18:20:05.617" v="511" actId="478"/>
          <ac:spMkLst>
            <pc:docMk/>
            <pc:sldMk cId="3556834676" sldId="336"/>
            <ac:spMk id="315" creationId="{87196080-A42E-4F3E-907D-D36963F4C554}"/>
          </ac:spMkLst>
        </pc:spChg>
        <pc:spChg chg="add del">
          <ac:chgData name="Andy Roberts" userId="b6430d21-8e5e-4d9c-81e9-e1ae515d6d74" providerId="ADAL" clId="{356C853E-D027-4183-864D-1C71215F695F}" dt="2017-12-05T18:20:05.617" v="511" actId="478"/>
          <ac:spMkLst>
            <pc:docMk/>
            <pc:sldMk cId="3556834676" sldId="336"/>
            <ac:spMk id="316" creationId="{D566F6C8-688F-42C6-918D-CB5045A23810}"/>
          </ac:spMkLst>
        </pc:spChg>
        <pc:spChg chg="add del">
          <ac:chgData name="Andy Roberts" userId="b6430d21-8e5e-4d9c-81e9-e1ae515d6d74" providerId="ADAL" clId="{356C853E-D027-4183-864D-1C71215F695F}" dt="2017-12-05T18:20:05.617" v="511" actId="478"/>
          <ac:spMkLst>
            <pc:docMk/>
            <pc:sldMk cId="3556834676" sldId="336"/>
            <ac:spMk id="317" creationId="{A235131C-2F00-41ED-AE03-B6BDF97F63F9}"/>
          </ac:spMkLst>
        </pc:spChg>
        <pc:spChg chg="add del">
          <ac:chgData name="Andy Roberts" userId="b6430d21-8e5e-4d9c-81e9-e1ae515d6d74" providerId="ADAL" clId="{356C853E-D027-4183-864D-1C71215F695F}" dt="2017-12-05T18:20:05.617" v="511" actId="478"/>
          <ac:spMkLst>
            <pc:docMk/>
            <pc:sldMk cId="3556834676" sldId="336"/>
            <ac:spMk id="318" creationId="{F19D91F6-3F1B-4E22-A3FF-2B22767128C4}"/>
          </ac:spMkLst>
        </pc:spChg>
        <pc:spChg chg="add del">
          <ac:chgData name="Andy Roberts" userId="b6430d21-8e5e-4d9c-81e9-e1ae515d6d74" providerId="ADAL" clId="{356C853E-D027-4183-864D-1C71215F695F}" dt="2017-12-05T18:20:05.617" v="511" actId="478"/>
          <ac:spMkLst>
            <pc:docMk/>
            <pc:sldMk cId="3556834676" sldId="336"/>
            <ac:spMk id="319" creationId="{90B6BA66-C39A-4428-9769-4A63A9DEA76E}"/>
          </ac:spMkLst>
        </pc:spChg>
        <pc:spChg chg="add del">
          <ac:chgData name="Andy Roberts" userId="b6430d21-8e5e-4d9c-81e9-e1ae515d6d74" providerId="ADAL" clId="{356C853E-D027-4183-864D-1C71215F695F}" dt="2017-12-05T18:20:05.617" v="511" actId="478"/>
          <ac:spMkLst>
            <pc:docMk/>
            <pc:sldMk cId="3556834676" sldId="336"/>
            <ac:spMk id="325" creationId="{457152C3-0CAE-4073-8430-9D713DC76740}"/>
          </ac:spMkLst>
        </pc:spChg>
        <pc:spChg chg="add del">
          <ac:chgData name="Andy Roberts" userId="b6430d21-8e5e-4d9c-81e9-e1ae515d6d74" providerId="ADAL" clId="{356C853E-D027-4183-864D-1C71215F695F}" dt="2017-12-05T18:20:05.617" v="511" actId="478"/>
          <ac:spMkLst>
            <pc:docMk/>
            <pc:sldMk cId="3556834676" sldId="336"/>
            <ac:spMk id="326" creationId="{D5CC7AE6-30CB-413F-A374-60C9E487D476}"/>
          </ac:spMkLst>
        </pc:spChg>
        <pc:spChg chg="add del">
          <ac:chgData name="Andy Roberts" userId="b6430d21-8e5e-4d9c-81e9-e1ae515d6d74" providerId="ADAL" clId="{356C853E-D027-4183-864D-1C71215F695F}" dt="2017-12-05T18:20:08.087" v="512" actId="478"/>
          <ac:spMkLst>
            <pc:docMk/>
            <pc:sldMk cId="3556834676" sldId="336"/>
            <ac:spMk id="328" creationId="{47959E73-F85A-4AE4-9362-18D69C46B12D}"/>
          </ac:spMkLst>
        </pc:spChg>
        <pc:spChg chg="add">
          <ac:chgData name="Andy Roberts" userId="b6430d21-8e5e-4d9c-81e9-e1ae515d6d74" providerId="ADAL" clId="{356C853E-D027-4183-864D-1C71215F695F}" dt="2017-12-05T18:20:00.096" v="509" actId="2696"/>
          <ac:spMkLst>
            <pc:docMk/>
            <pc:sldMk cId="3556834676" sldId="336"/>
            <ac:spMk id="339" creationId="{3357A92A-497D-4507-B334-2049EAB13752}"/>
          </ac:spMkLst>
        </pc:spChg>
        <pc:spChg chg="add">
          <ac:chgData name="Andy Roberts" userId="b6430d21-8e5e-4d9c-81e9-e1ae515d6d74" providerId="ADAL" clId="{356C853E-D027-4183-864D-1C71215F695F}" dt="2017-12-05T18:20:00.096" v="509" actId="2696"/>
          <ac:spMkLst>
            <pc:docMk/>
            <pc:sldMk cId="3556834676" sldId="336"/>
            <ac:spMk id="340" creationId="{3F919F86-9618-41D0-9887-268349C8B284}"/>
          </ac:spMkLst>
        </pc:spChg>
        <pc:spChg chg="add">
          <ac:chgData name="Andy Roberts" userId="b6430d21-8e5e-4d9c-81e9-e1ae515d6d74" providerId="ADAL" clId="{356C853E-D027-4183-864D-1C71215F695F}" dt="2017-12-05T18:20:00.096" v="509" actId="2696"/>
          <ac:spMkLst>
            <pc:docMk/>
            <pc:sldMk cId="3556834676" sldId="336"/>
            <ac:spMk id="341" creationId="{045992E4-E3D5-4C61-A069-1F79D072844A}"/>
          </ac:spMkLst>
        </pc:spChg>
        <pc:spChg chg="add">
          <ac:chgData name="Andy Roberts" userId="b6430d21-8e5e-4d9c-81e9-e1ae515d6d74" providerId="ADAL" clId="{356C853E-D027-4183-864D-1C71215F695F}" dt="2017-12-05T18:20:00.096" v="509" actId="2696"/>
          <ac:spMkLst>
            <pc:docMk/>
            <pc:sldMk cId="3556834676" sldId="336"/>
            <ac:spMk id="342" creationId="{CF94239B-AEDE-41E9-ABD5-3D42A0FEECF5}"/>
          </ac:spMkLst>
        </pc:spChg>
        <pc:spChg chg="add">
          <ac:chgData name="Andy Roberts" userId="b6430d21-8e5e-4d9c-81e9-e1ae515d6d74" providerId="ADAL" clId="{356C853E-D027-4183-864D-1C71215F695F}" dt="2017-12-05T18:20:00.096" v="509" actId="2696"/>
          <ac:spMkLst>
            <pc:docMk/>
            <pc:sldMk cId="3556834676" sldId="336"/>
            <ac:spMk id="343" creationId="{1454A46E-3F88-42EC-BEC8-8915EB193ED2}"/>
          </ac:spMkLst>
        </pc:spChg>
        <pc:spChg chg="add">
          <ac:chgData name="Andy Roberts" userId="b6430d21-8e5e-4d9c-81e9-e1ae515d6d74" providerId="ADAL" clId="{356C853E-D027-4183-864D-1C71215F695F}" dt="2017-12-05T18:20:00.096" v="509" actId="2696"/>
          <ac:spMkLst>
            <pc:docMk/>
            <pc:sldMk cId="3556834676" sldId="336"/>
            <ac:spMk id="344" creationId="{7FA12790-8FC1-4645-B980-5859EFB53941}"/>
          </ac:spMkLst>
        </pc:spChg>
        <pc:spChg chg="add">
          <ac:chgData name="Andy Roberts" userId="b6430d21-8e5e-4d9c-81e9-e1ae515d6d74" providerId="ADAL" clId="{356C853E-D027-4183-864D-1C71215F695F}" dt="2017-12-05T18:20:00.096" v="509" actId="2696"/>
          <ac:spMkLst>
            <pc:docMk/>
            <pc:sldMk cId="3556834676" sldId="336"/>
            <ac:spMk id="345" creationId="{10D653CD-2F3F-48BA-9E98-EA4377D37054}"/>
          </ac:spMkLst>
        </pc:spChg>
        <pc:spChg chg="add">
          <ac:chgData name="Andy Roberts" userId="b6430d21-8e5e-4d9c-81e9-e1ae515d6d74" providerId="ADAL" clId="{356C853E-D027-4183-864D-1C71215F695F}" dt="2017-12-05T18:20:00.096" v="509" actId="2696"/>
          <ac:spMkLst>
            <pc:docMk/>
            <pc:sldMk cId="3556834676" sldId="336"/>
            <ac:spMk id="346" creationId="{4657930C-BEC1-4594-9E22-83C701C54C0A}"/>
          </ac:spMkLst>
        </pc:spChg>
        <pc:spChg chg="add">
          <ac:chgData name="Andy Roberts" userId="b6430d21-8e5e-4d9c-81e9-e1ae515d6d74" providerId="ADAL" clId="{356C853E-D027-4183-864D-1C71215F695F}" dt="2017-12-05T18:20:00.096" v="509" actId="2696"/>
          <ac:spMkLst>
            <pc:docMk/>
            <pc:sldMk cId="3556834676" sldId="336"/>
            <ac:spMk id="347" creationId="{D34E3456-B5A1-40B6-9DCF-3D56456413C3}"/>
          </ac:spMkLst>
        </pc:spChg>
        <pc:spChg chg="add">
          <ac:chgData name="Andy Roberts" userId="b6430d21-8e5e-4d9c-81e9-e1ae515d6d74" providerId="ADAL" clId="{356C853E-D027-4183-864D-1C71215F695F}" dt="2017-12-05T18:20:00.096" v="509" actId="2696"/>
          <ac:spMkLst>
            <pc:docMk/>
            <pc:sldMk cId="3556834676" sldId="336"/>
            <ac:spMk id="348" creationId="{5CAECB03-5EF3-4FA6-8A01-B892C44DF002}"/>
          </ac:spMkLst>
        </pc:spChg>
        <pc:spChg chg="add">
          <ac:chgData name="Andy Roberts" userId="b6430d21-8e5e-4d9c-81e9-e1ae515d6d74" providerId="ADAL" clId="{356C853E-D027-4183-864D-1C71215F695F}" dt="2017-12-05T18:20:00.096" v="509" actId="2696"/>
          <ac:spMkLst>
            <pc:docMk/>
            <pc:sldMk cId="3556834676" sldId="336"/>
            <ac:spMk id="349" creationId="{959661E5-EC46-4D19-BA82-D93E8FDB508D}"/>
          </ac:spMkLst>
        </pc:spChg>
        <pc:spChg chg="add">
          <ac:chgData name="Andy Roberts" userId="b6430d21-8e5e-4d9c-81e9-e1ae515d6d74" providerId="ADAL" clId="{356C853E-D027-4183-864D-1C71215F695F}" dt="2017-12-05T18:20:00.096" v="509" actId="2696"/>
          <ac:spMkLst>
            <pc:docMk/>
            <pc:sldMk cId="3556834676" sldId="336"/>
            <ac:spMk id="350" creationId="{0990BAB1-36D7-4E31-BAF9-B3B3F6B7F5FB}"/>
          </ac:spMkLst>
        </pc:spChg>
        <pc:spChg chg="add">
          <ac:chgData name="Andy Roberts" userId="b6430d21-8e5e-4d9c-81e9-e1ae515d6d74" providerId="ADAL" clId="{356C853E-D027-4183-864D-1C71215F695F}" dt="2017-12-05T18:20:00.096" v="509" actId="2696"/>
          <ac:spMkLst>
            <pc:docMk/>
            <pc:sldMk cId="3556834676" sldId="336"/>
            <ac:spMk id="351" creationId="{E8CDE513-DADC-4591-9CBE-F096316AF459}"/>
          </ac:spMkLst>
        </pc:spChg>
        <pc:spChg chg="add">
          <ac:chgData name="Andy Roberts" userId="b6430d21-8e5e-4d9c-81e9-e1ae515d6d74" providerId="ADAL" clId="{356C853E-D027-4183-864D-1C71215F695F}" dt="2017-12-05T18:20:00.096" v="509" actId="2696"/>
          <ac:spMkLst>
            <pc:docMk/>
            <pc:sldMk cId="3556834676" sldId="336"/>
            <ac:spMk id="352" creationId="{A5D24F99-3928-440E-B4D0-BA35539C095F}"/>
          </ac:spMkLst>
        </pc:spChg>
        <pc:spChg chg="add">
          <ac:chgData name="Andy Roberts" userId="b6430d21-8e5e-4d9c-81e9-e1ae515d6d74" providerId="ADAL" clId="{356C853E-D027-4183-864D-1C71215F695F}" dt="2017-12-05T18:20:00.096" v="509" actId="2696"/>
          <ac:spMkLst>
            <pc:docMk/>
            <pc:sldMk cId="3556834676" sldId="336"/>
            <ac:spMk id="353" creationId="{FE51FB1B-84F2-4649-91D4-5F3523C0FFCE}"/>
          </ac:spMkLst>
        </pc:spChg>
        <pc:spChg chg="add">
          <ac:chgData name="Andy Roberts" userId="b6430d21-8e5e-4d9c-81e9-e1ae515d6d74" providerId="ADAL" clId="{356C853E-D027-4183-864D-1C71215F695F}" dt="2017-12-05T18:20:00.096" v="509" actId="2696"/>
          <ac:spMkLst>
            <pc:docMk/>
            <pc:sldMk cId="3556834676" sldId="336"/>
            <ac:spMk id="354" creationId="{009423C4-42C1-4B8E-B84B-F6090EB7D91B}"/>
          </ac:spMkLst>
        </pc:spChg>
        <pc:spChg chg="add">
          <ac:chgData name="Andy Roberts" userId="b6430d21-8e5e-4d9c-81e9-e1ae515d6d74" providerId="ADAL" clId="{356C853E-D027-4183-864D-1C71215F695F}" dt="2017-12-05T18:20:00.096" v="509" actId="2696"/>
          <ac:spMkLst>
            <pc:docMk/>
            <pc:sldMk cId="3556834676" sldId="336"/>
            <ac:spMk id="355" creationId="{9B4274C7-F96F-4DE1-88CD-C54EFEA589D1}"/>
          </ac:spMkLst>
        </pc:spChg>
        <pc:spChg chg="add">
          <ac:chgData name="Andy Roberts" userId="b6430d21-8e5e-4d9c-81e9-e1ae515d6d74" providerId="ADAL" clId="{356C853E-D027-4183-864D-1C71215F695F}" dt="2017-12-05T18:20:00.096" v="509" actId="2696"/>
          <ac:spMkLst>
            <pc:docMk/>
            <pc:sldMk cId="3556834676" sldId="336"/>
            <ac:spMk id="356" creationId="{B5DA410A-38D7-4AC7-A59A-A49C67AD37F7}"/>
          </ac:spMkLst>
        </pc:spChg>
        <pc:spChg chg="add">
          <ac:chgData name="Andy Roberts" userId="b6430d21-8e5e-4d9c-81e9-e1ae515d6d74" providerId="ADAL" clId="{356C853E-D027-4183-864D-1C71215F695F}" dt="2017-12-05T18:20:00.096" v="509" actId="2696"/>
          <ac:spMkLst>
            <pc:docMk/>
            <pc:sldMk cId="3556834676" sldId="336"/>
            <ac:spMk id="357" creationId="{75556287-4CCB-4139-B952-79F8D7E7ADB8}"/>
          </ac:spMkLst>
        </pc:spChg>
        <pc:spChg chg="add">
          <ac:chgData name="Andy Roberts" userId="b6430d21-8e5e-4d9c-81e9-e1ae515d6d74" providerId="ADAL" clId="{356C853E-D027-4183-864D-1C71215F695F}" dt="2017-12-05T18:20:00.096" v="509" actId="2696"/>
          <ac:spMkLst>
            <pc:docMk/>
            <pc:sldMk cId="3556834676" sldId="336"/>
            <ac:spMk id="358" creationId="{A809E870-73AC-43F8-8550-13F327F3F1DA}"/>
          </ac:spMkLst>
        </pc:spChg>
        <pc:spChg chg="add">
          <ac:chgData name="Andy Roberts" userId="b6430d21-8e5e-4d9c-81e9-e1ae515d6d74" providerId="ADAL" clId="{356C853E-D027-4183-864D-1C71215F695F}" dt="2017-12-05T18:20:00.096" v="509" actId="2696"/>
          <ac:spMkLst>
            <pc:docMk/>
            <pc:sldMk cId="3556834676" sldId="336"/>
            <ac:spMk id="359" creationId="{8C5B4D35-C5C5-4E35-8493-31AE9807590F}"/>
          </ac:spMkLst>
        </pc:spChg>
        <pc:spChg chg="add">
          <ac:chgData name="Andy Roberts" userId="b6430d21-8e5e-4d9c-81e9-e1ae515d6d74" providerId="ADAL" clId="{356C853E-D027-4183-864D-1C71215F695F}" dt="2017-12-05T18:20:00.096" v="509" actId="2696"/>
          <ac:spMkLst>
            <pc:docMk/>
            <pc:sldMk cId="3556834676" sldId="336"/>
            <ac:spMk id="360" creationId="{3983856F-0084-42F3-AC95-0FAFF9DB914B}"/>
          </ac:spMkLst>
        </pc:spChg>
        <pc:spChg chg="add">
          <ac:chgData name="Andy Roberts" userId="b6430d21-8e5e-4d9c-81e9-e1ae515d6d74" providerId="ADAL" clId="{356C853E-D027-4183-864D-1C71215F695F}" dt="2017-12-05T18:20:00.096" v="509" actId="2696"/>
          <ac:spMkLst>
            <pc:docMk/>
            <pc:sldMk cId="3556834676" sldId="336"/>
            <ac:spMk id="361" creationId="{00A27264-3545-45C4-8A39-A4155C7C73A2}"/>
          </ac:spMkLst>
        </pc:spChg>
        <pc:spChg chg="add">
          <ac:chgData name="Andy Roberts" userId="b6430d21-8e5e-4d9c-81e9-e1ae515d6d74" providerId="ADAL" clId="{356C853E-D027-4183-864D-1C71215F695F}" dt="2017-12-05T18:20:00.096" v="509" actId="2696"/>
          <ac:spMkLst>
            <pc:docMk/>
            <pc:sldMk cId="3556834676" sldId="336"/>
            <ac:spMk id="362" creationId="{CF3ED2AF-9DA3-431E-AF05-4AA890831261}"/>
          </ac:spMkLst>
        </pc:spChg>
        <pc:spChg chg="add">
          <ac:chgData name="Andy Roberts" userId="b6430d21-8e5e-4d9c-81e9-e1ae515d6d74" providerId="ADAL" clId="{356C853E-D027-4183-864D-1C71215F695F}" dt="2017-12-05T18:20:00.096" v="509" actId="2696"/>
          <ac:spMkLst>
            <pc:docMk/>
            <pc:sldMk cId="3556834676" sldId="336"/>
            <ac:spMk id="363" creationId="{9F0AB92E-212B-4686-A8DC-438FB29734EC}"/>
          </ac:spMkLst>
        </pc:spChg>
        <pc:spChg chg="add">
          <ac:chgData name="Andy Roberts" userId="b6430d21-8e5e-4d9c-81e9-e1ae515d6d74" providerId="ADAL" clId="{356C853E-D027-4183-864D-1C71215F695F}" dt="2017-12-05T18:20:00.096" v="509" actId="2696"/>
          <ac:spMkLst>
            <pc:docMk/>
            <pc:sldMk cId="3556834676" sldId="336"/>
            <ac:spMk id="364" creationId="{FB17D23F-6A42-4439-BE5C-DA786C6F0E33}"/>
          </ac:spMkLst>
        </pc:spChg>
        <pc:spChg chg="add">
          <ac:chgData name="Andy Roberts" userId="b6430d21-8e5e-4d9c-81e9-e1ae515d6d74" providerId="ADAL" clId="{356C853E-D027-4183-864D-1C71215F695F}" dt="2017-12-05T18:20:00.096" v="509" actId="2696"/>
          <ac:spMkLst>
            <pc:docMk/>
            <pc:sldMk cId="3556834676" sldId="336"/>
            <ac:spMk id="365" creationId="{F31ED029-4EA7-446A-A107-1905C2849D0A}"/>
          </ac:spMkLst>
        </pc:spChg>
        <pc:spChg chg="add">
          <ac:chgData name="Andy Roberts" userId="b6430d21-8e5e-4d9c-81e9-e1ae515d6d74" providerId="ADAL" clId="{356C853E-D027-4183-864D-1C71215F695F}" dt="2017-12-05T18:20:00.096" v="509" actId="2696"/>
          <ac:spMkLst>
            <pc:docMk/>
            <pc:sldMk cId="3556834676" sldId="336"/>
            <ac:spMk id="366" creationId="{E0820DC0-DDE0-4B5F-888B-1E441EFE5D94}"/>
          </ac:spMkLst>
        </pc:spChg>
        <pc:spChg chg="add">
          <ac:chgData name="Andy Roberts" userId="b6430d21-8e5e-4d9c-81e9-e1ae515d6d74" providerId="ADAL" clId="{356C853E-D027-4183-864D-1C71215F695F}" dt="2017-12-05T18:20:00.096" v="509" actId="2696"/>
          <ac:spMkLst>
            <pc:docMk/>
            <pc:sldMk cId="3556834676" sldId="336"/>
            <ac:spMk id="367" creationId="{4D65BB96-3DA5-4FA0-9121-3874364B2B13}"/>
          </ac:spMkLst>
        </pc:spChg>
        <pc:spChg chg="add">
          <ac:chgData name="Andy Roberts" userId="b6430d21-8e5e-4d9c-81e9-e1ae515d6d74" providerId="ADAL" clId="{356C853E-D027-4183-864D-1C71215F695F}" dt="2017-12-05T18:20:00.096" v="509" actId="2696"/>
          <ac:spMkLst>
            <pc:docMk/>
            <pc:sldMk cId="3556834676" sldId="336"/>
            <ac:spMk id="368" creationId="{4C930A8D-0313-4167-B03F-C77DEF23942A}"/>
          </ac:spMkLst>
        </pc:spChg>
        <pc:spChg chg="add">
          <ac:chgData name="Andy Roberts" userId="b6430d21-8e5e-4d9c-81e9-e1ae515d6d74" providerId="ADAL" clId="{356C853E-D027-4183-864D-1C71215F695F}" dt="2017-12-05T18:20:00.096" v="509" actId="2696"/>
          <ac:spMkLst>
            <pc:docMk/>
            <pc:sldMk cId="3556834676" sldId="336"/>
            <ac:spMk id="369" creationId="{EFEC0C73-57DF-4519-AA43-436DE744D6B4}"/>
          </ac:spMkLst>
        </pc:spChg>
        <pc:spChg chg="add">
          <ac:chgData name="Andy Roberts" userId="b6430d21-8e5e-4d9c-81e9-e1ae515d6d74" providerId="ADAL" clId="{356C853E-D027-4183-864D-1C71215F695F}" dt="2017-12-05T18:20:00.096" v="509" actId="2696"/>
          <ac:spMkLst>
            <pc:docMk/>
            <pc:sldMk cId="3556834676" sldId="336"/>
            <ac:spMk id="370" creationId="{38FFECF5-3C6D-41A4-A5CA-3EA157794822}"/>
          </ac:spMkLst>
        </pc:spChg>
        <pc:spChg chg="add">
          <ac:chgData name="Andy Roberts" userId="b6430d21-8e5e-4d9c-81e9-e1ae515d6d74" providerId="ADAL" clId="{356C853E-D027-4183-864D-1C71215F695F}" dt="2017-12-05T18:20:00.096" v="509" actId="2696"/>
          <ac:spMkLst>
            <pc:docMk/>
            <pc:sldMk cId="3556834676" sldId="336"/>
            <ac:spMk id="371" creationId="{6D21ACD9-18EE-4D4C-A815-919EF8D6270E}"/>
          </ac:spMkLst>
        </pc:spChg>
        <pc:spChg chg="add">
          <ac:chgData name="Andy Roberts" userId="b6430d21-8e5e-4d9c-81e9-e1ae515d6d74" providerId="ADAL" clId="{356C853E-D027-4183-864D-1C71215F695F}" dt="2017-12-05T18:20:00.096" v="509" actId="2696"/>
          <ac:spMkLst>
            <pc:docMk/>
            <pc:sldMk cId="3556834676" sldId="336"/>
            <ac:spMk id="372" creationId="{386FC24F-9C05-479A-A32E-28A0DE3D756A}"/>
          </ac:spMkLst>
        </pc:spChg>
        <pc:spChg chg="add">
          <ac:chgData name="Andy Roberts" userId="b6430d21-8e5e-4d9c-81e9-e1ae515d6d74" providerId="ADAL" clId="{356C853E-D027-4183-864D-1C71215F695F}" dt="2017-12-05T18:20:00.096" v="509" actId="2696"/>
          <ac:spMkLst>
            <pc:docMk/>
            <pc:sldMk cId="3556834676" sldId="336"/>
            <ac:spMk id="373" creationId="{57B89043-A248-4F2D-9E88-CD609C971E9B}"/>
          </ac:spMkLst>
        </pc:spChg>
        <pc:spChg chg="add">
          <ac:chgData name="Andy Roberts" userId="b6430d21-8e5e-4d9c-81e9-e1ae515d6d74" providerId="ADAL" clId="{356C853E-D027-4183-864D-1C71215F695F}" dt="2017-12-05T18:20:00.096" v="509" actId="2696"/>
          <ac:spMkLst>
            <pc:docMk/>
            <pc:sldMk cId="3556834676" sldId="336"/>
            <ac:spMk id="374" creationId="{55248919-8AFD-47A9-AA4D-6233C28734D0}"/>
          </ac:spMkLst>
        </pc:spChg>
        <pc:spChg chg="add">
          <ac:chgData name="Andy Roberts" userId="b6430d21-8e5e-4d9c-81e9-e1ae515d6d74" providerId="ADAL" clId="{356C853E-D027-4183-864D-1C71215F695F}" dt="2017-12-05T18:20:00.096" v="509" actId="2696"/>
          <ac:spMkLst>
            <pc:docMk/>
            <pc:sldMk cId="3556834676" sldId="336"/>
            <ac:spMk id="375" creationId="{F5F4353F-BBC8-4309-A409-4AC9524FBD7D}"/>
          </ac:spMkLst>
        </pc:spChg>
        <pc:spChg chg="add">
          <ac:chgData name="Andy Roberts" userId="b6430d21-8e5e-4d9c-81e9-e1ae515d6d74" providerId="ADAL" clId="{356C853E-D027-4183-864D-1C71215F695F}" dt="2017-12-05T18:20:00.096" v="509" actId="2696"/>
          <ac:spMkLst>
            <pc:docMk/>
            <pc:sldMk cId="3556834676" sldId="336"/>
            <ac:spMk id="376" creationId="{7F0CD986-8A3E-4DC5-8B49-7E5E2A9DE0B9}"/>
          </ac:spMkLst>
        </pc:spChg>
        <pc:spChg chg="add">
          <ac:chgData name="Andy Roberts" userId="b6430d21-8e5e-4d9c-81e9-e1ae515d6d74" providerId="ADAL" clId="{356C853E-D027-4183-864D-1C71215F695F}" dt="2017-12-05T18:20:00.096" v="509" actId="2696"/>
          <ac:spMkLst>
            <pc:docMk/>
            <pc:sldMk cId="3556834676" sldId="336"/>
            <ac:spMk id="377" creationId="{2DE7D14F-A37C-40AD-A22B-2DF7553E243A}"/>
          </ac:spMkLst>
        </pc:spChg>
        <pc:spChg chg="add">
          <ac:chgData name="Andy Roberts" userId="b6430d21-8e5e-4d9c-81e9-e1ae515d6d74" providerId="ADAL" clId="{356C853E-D027-4183-864D-1C71215F695F}" dt="2017-12-05T18:20:00.096" v="509" actId="2696"/>
          <ac:spMkLst>
            <pc:docMk/>
            <pc:sldMk cId="3556834676" sldId="336"/>
            <ac:spMk id="378" creationId="{9029431E-E860-4B9B-896B-BCCE769B2B6E}"/>
          </ac:spMkLst>
        </pc:spChg>
        <pc:spChg chg="add">
          <ac:chgData name="Andy Roberts" userId="b6430d21-8e5e-4d9c-81e9-e1ae515d6d74" providerId="ADAL" clId="{356C853E-D027-4183-864D-1C71215F695F}" dt="2017-12-05T18:20:00.096" v="509" actId="2696"/>
          <ac:spMkLst>
            <pc:docMk/>
            <pc:sldMk cId="3556834676" sldId="336"/>
            <ac:spMk id="379" creationId="{E1DB8B97-C79E-41E9-82A2-F632A9D8CBB1}"/>
          </ac:spMkLst>
        </pc:spChg>
        <pc:spChg chg="add">
          <ac:chgData name="Andy Roberts" userId="b6430d21-8e5e-4d9c-81e9-e1ae515d6d74" providerId="ADAL" clId="{356C853E-D027-4183-864D-1C71215F695F}" dt="2017-12-05T18:20:00.096" v="509" actId="2696"/>
          <ac:spMkLst>
            <pc:docMk/>
            <pc:sldMk cId="3556834676" sldId="336"/>
            <ac:spMk id="380" creationId="{633EB799-E95A-4A34-B3D6-05BD04771E3D}"/>
          </ac:spMkLst>
        </pc:spChg>
        <pc:spChg chg="add">
          <ac:chgData name="Andy Roberts" userId="b6430d21-8e5e-4d9c-81e9-e1ae515d6d74" providerId="ADAL" clId="{356C853E-D027-4183-864D-1C71215F695F}" dt="2017-12-05T18:20:00.096" v="509" actId="2696"/>
          <ac:spMkLst>
            <pc:docMk/>
            <pc:sldMk cId="3556834676" sldId="336"/>
            <ac:spMk id="381" creationId="{F7D9885D-EA5D-4B2B-A2C2-0981876B431E}"/>
          </ac:spMkLst>
        </pc:spChg>
        <pc:spChg chg="add">
          <ac:chgData name="Andy Roberts" userId="b6430d21-8e5e-4d9c-81e9-e1ae515d6d74" providerId="ADAL" clId="{356C853E-D027-4183-864D-1C71215F695F}" dt="2017-12-05T18:20:00.096" v="509" actId="2696"/>
          <ac:spMkLst>
            <pc:docMk/>
            <pc:sldMk cId="3556834676" sldId="336"/>
            <ac:spMk id="382" creationId="{3FD886F4-C1DB-4481-905E-F21CA03BDB44}"/>
          </ac:spMkLst>
        </pc:spChg>
        <pc:spChg chg="add">
          <ac:chgData name="Andy Roberts" userId="b6430d21-8e5e-4d9c-81e9-e1ae515d6d74" providerId="ADAL" clId="{356C853E-D027-4183-864D-1C71215F695F}" dt="2017-12-05T18:20:00.096" v="509" actId="2696"/>
          <ac:spMkLst>
            <pc:docMk/>
            <pc:sldMk cId="3556834676" sldId="336"/>
            <ac:spMk id="383" creationId="{7FC7B7D9-9850-47E6-BCC1-566A50B5B920}"/>
          </ac:spMkLst>
        </pc:spChg>
        <pc:spChg chg="add">
          <ac:chgData name="Andy Roberts" userId="b6430d21-8e5e-4d9c-81e9-e1ae515d6d74" providerId="ADAL" clId="{356C853E-D027-4183-864D-1C71215F695F}" dt="2017-12-05T18:20:00.096" v="509" actId="2696"/>
          <ac:spMkLst>
            <pc:docMk/>
            <pc:sldMk cId="3556834676" sldId="336"/>
            <ac:spMk id="384" creationId="{C57975A1-F790-46CC-9AC4-5ABF6CE9E58A}"/>
          </ac:spMkLst>
        </pc:spChg>
        <pc:spChg chg="add">
          <ac:chgData name="Andy Roberts" userId="b6430d21-8e5e-4d9c-81e9-e1ae515d6d74" providerId="ADAL" clId="{356C853E-D027-4183-864D-1C71215F695F}" dt="2017-12-05T18:20:00.096" v="509" actId="2696"/>
          <ac:spMkLst>
            <pc:docMk/>
            <pc:sldMk cId="3556834676" sldId="336"/>
            <ac:spMk id="385" creationId="{3E7B239B-2F0B-4EC2-8D87-458F60BCB7A1}"/>
          </ac:spMkLst>
        </pc:spChg>
        <pc:spChg chg="add">
          <ac:chgData name="Andy Roberts" userId="b6430d21-8e5e-4d9c-81e9-e1ae515d6d74" providerId="ADAL" clId="{356C853E-D027-4183-864D-1C71215F695F}" dt="2017-12-05T18:20:00.096" v="509" actId="2696"/>
          <ac:spMkLst>
            <pc:docMk/>
            <pc:sldMk cId="3556834676" sldId="336"/>
            <ac:spMk id="386" creationId="{0BE20C63-579F-401A-BC6A-10205592A19D}"/>
          </ac:spMkLst>
        </pc:spChg>
        <pc:spChg chg="add">
          <ac:chgData name="Andy Roberts" userId="b6430d21-8e5e-4d9c-81e9-e1ae515d6d74" providerId="ADAL" clId="{356C853E-D027-4183-864D-1C71215F695F}" dt="2017-12-05T18:20:00.096" v="509" actId="2696"/>
          <ac:spMkLst>
            <pc:docMk/>
            <pc:sldMk cId="3556834676" sldId="336"/>
            <ac:spMk id="387" creationId="{F5BC6E9E-49BA-4A02-88A0-610605D740AF}"/>
          </ac:spMkLst>
        </pc:spChg>
        <pc:spChg chg="add">
          <ac:chgData name="Andy Roberts" userId="b6430d21-8e5e-4d9c-81e9-e1ae515d6d74" providerId="ADAL" clId="{356C853E-D027-4183-864D-1C71215F695F}" dt="2017-12-05T18:20:00.096" v="509" actId="2696"/>
          <ac:spMkLst>
            <pc:docMk/>
            <pc:sldMk cId="3556834676" sldId="336"/>
            <ac:spMk id="388" creationId="{EB273A76-496A-43A1-B9E6-95DFFD939E95}"/>
          </ac:spMkLst>
        </pc:spChg>
        <pc:spChg chg="add">
          <ac:chgData name="Andy Roberts" userId="b6430d21-8e5e-4d9c-81e9-e1ae515d6d74" providerId="ADAL" clId="{356C853E-D027-4183-864D-1C71215F695F}" dt="2017-12-05T18:20:00.096" v="509" actId="2696"/>
          <ac:spMkLst>
            <pc:docMk/>
            <pc:sldMk cId="3556834676" sldId="336"/>
            <ac:spMk id="389" creationId="{CD3BBE79-8C4B-4BD7-B50D-90038940E217}"/>
          </ac:spMkLst>
        </pc:spChg>
        <pc:spChg chg="add">
          <ac:chgData name="Andy Roberts" userId="b6430d21-8e5e-4d9c-81e9-e1ae515d6d74" providerId="ADAL" clId="{356C853E-D027-4183-864D-1C71215F695F}" dt="2017-12-05T18:20:00.096" v="509" actId="2696"/>
          <ac:spMkLst>
            <pc:docMk/>
            <pc:sldMk cId="3556834676" sldId="336"/>
            <ac:spMk id="390" creationId="{E0BB5729-9EA6-4C9A-9481-243C62F0A933}"/>
          </ac:spMkLst>
        </pc:spChg>
        <pc:spChg chg="add">
          <ac:chgData name="Andy Roberts" userId="b6430d21-8e5e-4d9c-81e9-e1ae515d6d74" providerId="ADAL" clId="{356C853E-D027-4183-864D-1C71215F695F}" dt="2017-12-05T18:20:00.096" v="509" actId="2696"/>
          <ac:spMkLst>
            <pc:docMk/>
            <pc:sldMk cId="3556834676" sldId="336"/>
            <ac:spMk id="391" creationId="{3DB11FFA-64F4-4788-A845-A0A830BDA6DF}"/>
          </ac:spMkLst>
        </pc:spChg>
        <pc:spChg chg="add">
          <ac:chgData name="Andy Roberts" userId="b6430d21-8e5e-4d9c-81e9-e1ae515d6d74" providerId="ADAL" clId="{356C853E-D027-4183-864D-1C71215F695F}" dt="2017-12-05T18:20:00.096" v="509" actId="2696"/>
          <ac:spMkLst>
            <pc:docMk/>
            <pc:sldMk cId="3556834676" sldId="336"/>
            <ac:spMk id="392" creationId="{CF5A560D-3BC1-4805-94AE-C8D1AC33729B}"/>
          </ac:spMkLst>
        </pc:spChg>
        <pc:spChg chg="add">
          <ac:chgData name="Andy Roberts" userId="b6430d21-8e5e-4d9c-81e9-e1ae515d6d74" providerId="ADAL" clId="{356C853E-D027-4183-864D-1C71215F695F}" dt="2017-12-05T18:20:00.096" v="509" actId="2696"/>
          <ac:spMkLst>
            <pc:docMk/>
            <pc:sldMk cId="3556834676" sldId="336"/>
            <ac:spMk id="393" creationId="{3BCDD70B-D1A6-48E1-9E2F-E462A9A8E41E}"/>
          </ac:spMkLst>
        </pc:spChg>
        <pc:spChg chg="add">
          <ac:chgData name="Andy Roberts" userId="b6430d21-8e5e-4d9c-81e9-e1ae515d6d74" providerId="ADAL" clId="{356C853E-D027-4183-864D-1C71215F695F}" dt="2017-12-05T18:20:00.096" v="509" actId="2696"/>
          <ac:spMkLst>
            <pc:docMk/>
            <pc:sldMk cId="3556834676" sldId="336"/>
            <ac:spMk id="394" creationId="{4FBF1DB7-6FD5-4879-9E6A-3FC4A70EBE53}"/>
          </ac:spMkLst>
        </pc:spChg>
        <pc:spChg chg="add">
          <ac:chgData name="Andy Roberts" userId="b6430d21-8e5e-4d9c-81e9-e1ae515d6d74" providerId="ADAL" clId="{356C853E-D027-4183-864D-1C71215F695F}" dt="2017-12-05T18:20:00.096" v="509" actId="2696"/>
          <ac:spMkLst>
            <pc:docMk/>
            <pc:sldMk cId="3556834676" sldId="336"/>
            <ac:spMk id="395" creationId="{D9BC2D79-96A9-459E-B34D-6D391FC22266}"/>
          </ac:spMkLst>
        </pc:spChg>
        <pc:spChg chg="add">
          <ac:chgData name="Andy Roberts" userId="b6430d21-8e5e-4d9c-81e9-e1ae515d6d74" providerId="ADAL" clId="{356C853E-D027-4183-864D-1C71215F695F}" dt="2017-12-05T18:20:00.096" v="509" actId="2696"/>
          <ac:spMkLst>
            <pc:docMk/>
            <pc:sldMk cId="3556834676" sldId="336"/>
            <ac:spMk id="396" creationId="{9548694C-5890-499A-B8FF-F795A8B1BB1E}"/>
          </ac:spMkLst>
        </pc:spChg>
        <pc:spChg chg="add">
          <ac:chgData name="Andy Roberts" userId="b6430d21-8e5e-4d9c-81e9-e1ae515d6d74" providerId="ADAL" clId="{356C853E-D027-4183-864D-1C71215F695F}" dt="2017-12-05T18:20:00.096" v="509" actId="2696"/>
          <ac:spMkLst>
            <pc:docMk/>
            <pc:sldMk cId="3556834676" sldId="336"/>
            <ac:spMk id="397" creationId="{865FC2AC-6652-4D0C-A324-276CF334EB4D}"/>
          </ac:spMkLst>
        </pc:spChg>
        <pc:spChg chg="add">
          <ac:chgData name="Andy Roberts" userId="b6430d21-8e5e-4d9c-81e9-e1ae515d6d74" providerId="ADAL" clId="{356C853E-D027-4183-864D-1C71215F695F}" dt="2017-12-05T18:20:00.096" v="509" actId="2696"/>
          <ac:spMkLst>
            <pc:docMk/>
            <pc:sldMk cId="3556834676" sldId="336"/>
            <ac:spMk id="398" creationId="{BBC3C020-E114-4ECE-A286-C5DA9141E58F}"/>
          </ac:spMkLst>
        </pc:spChg>
        <pc:spChg chg="add">
          <ac:chgData name="Andy Roberts" userId="b6430d21-8e5e-4d9c-81e9-e1ae515d6d74" providerId="ADAL" clId="{356C853E-D027-4183-864D-1C71215F695F}" dt="2017-12-05T18:20:00.096" v="509" actId="2696"/>
          <ac:spMkLst>
            <pc:docMk/>
            <pc:sldMk cId="3556834676" sldId="336"/>
            <ac:spMk id="399" creationId="{51D4A8E5-D801-48F3-9D85-42C1EEF2143F}"/>
          </ac:spMkLst>
        </pc:spChg>
        <pc:spChg chg="add">
          <ac:chgData name="Andy Roberts" userId="b6430d21-8e5e-4d9c-81e9-e1ae515d6d74" providerId="ADAL" clId="{356C853E-D027-4183-864D-1C71215F695F}" dt="2017-12-05T18:20:00.096" v="509" actId="2696"/>
          <ac:spMkLst>
            <pc:docMk/>
            <pc:sldMk cId="3556834676" sldId="336"/>
            <ac:spMk id="400" creationId="{B77A537F-AA18-4A45-86C4-D5E83F8CEA2F}"/>
          </ac:spMkLst>
        </pc:spChg>
        <pc:spChg chg="add">
          <ac:chgData name="Andy Roberts" userId="b6430d21-8e5e-4d9c-81e9-e1ae515d6d74" providerId="ADAL" clId="{356C853E-D027-4183-864D-1C71215F695F}" dt="2017-12-05T18:20:00.096" v="509" actId="2696"/>
          <ac:spMkLst>
            <pc:docMk/>
            <pc:sldMk cId="3556834676" sldId="336"/>
            <ac:spMk id="401" creationId="{0E89135F-16B4-41FD-A440-676EB967E73B}"/>
          </ac:spMkLst>
        </pc:spChg>
        <pc:spChg chg="add">
          <ac:chgData name="Andy Roberts" userId="b6430d21-8e5e-4d9c-81e9-e1ae515d6d74" providerId="ADAL" clId="{356C853E-D027-4183-864D-1C71215F695F}" dt="2017-12-05T18:20:00.096" v="509" actId="2696"/>
          <ac:spMkLst>
            <pc:docMk/>
            <pc:sldMk cId="3556834676" sldId="336"/>
            <ac:spMk id="402" creationId="{94D06313-E34E-400E-BD75-893385CD5722}"/>
          </ac:spMkLst>
        </pc:spChg>
        <pc:spChg chg="add">
          <ac:chgData name="Andy Roberts" userId="b6430d21-8e5e-4d9c-81e9-e1ae515d6d74" providerId="ADAL" clId="{356C853E-D027-4183-864D-1C71215F695F}" dt="2017-12-05T18:20:00.096" v="509" actId="2696"/>
          <ac:spMkLst>
            <pc:docMk/>
            <pc:sldMk cId="3556834676" sldId="336"/>
            <ac:spMk id="403" creationId="{6BF7B13E-1445-4984-978E-6BFBFF6E49DF}"/>
          </ac:spMkLst>
        </pc:spChg>
        <pc:spChg chg="add">
          <ac:chgData name="Andy Roberts" userId="b6430d21-8e5e-4d9c-81e9-e1ae515d6d74" providerId="ADAL" clId="{356C853E-D027-4183-864D-1C71215F695F}" dt="2017-12-05T18:20:00.096" v="509" actId="2696"/>
          <ac:spMkLst>
            <pc:docMk/>
            <pc:sldMk cId="3556834676" sldId="336"/>
            <ac:spMk id="404" creationId="{07D18392-9A40-4C8D-83D1-164B24BF0CE5}"/>
          </ac:spMkLst>
        </pc:spChg>
        <pc:spChg chg="add">
          <ac:chgData name="Andy Roberts" userId="b6430d21-8e5e-4d9c-81e9-e1ae515d6d74" providerId="ADAL" clId="{356C853E-D027-4183-864D-1C71215F695F}" dt="2017-12-05T18:20:00.096" v="509" actId="2696"/>
          <ac:spMkLst>
            <pc:docMk/>
            <pc:sldMk cId="3556834676" sldId="336"/>
            <ac:spMk id="405" creationId="{128BB8E7-FA27-4D80-BF36-F670A1CF509F}"/>
          </ac:spMkLst>
        </pc:spChg>
        <pc:spChg chg="add">
          <ac:chgData name="Andy Roberts" userId="b6430d21-8e5e-4d9c-81e9-e1ae515d6d74" providerId="ADAL" clId="{356C853E-D027-4183-864D-1C71215F695F}" dt="2017-12-05T18:20:00.096" v="509" actId="2696"/>
          <ac:spMkLst>
            <pc:docMk/>
            <pc:sldMk cId="3556834676" sldId="336"/>
            <ac:spMk id="406" creationId="{515AF965-CF1C-441E-A8A1-93EC65D1213D}"/>
          </ac:spMkLst>
        </pc:spChg>
        <pc:spChg chg="add">
          <ac:chgData name="Andy Roberts" userId="b6430d21-8e5e-4d9c-81e9-e1ae515d6d74" providerId="ADAL" clId="{356C853E-D027-4183-864D-1C71215F695F}" dt="2017-12-05T18:20:00.096" v="509" actId="2696"/>
          <ac:spMkLst>
            <pc:docMk/>
            <pc:sldMk cId="3556834676" sldId="336"/>
            <ac:spMk id="407" creationId="{97F915B5-FE28-4522-9436-B83CE04B0BBC}"/>
          </ac:spMkLst>
        </pc:spChg>
        <pc:spChg chg="add">
          <ac:chgData name="Andy Roberts" userId="b6430d21-8e5e-4d9c-81e9-e1ae515d6d74" providerId="ADAL" clId="{356C853E-D027-4183-864D-1C71215F695F}" dt="2017-12-05T18:20:00.096" v="509" actId="2696"/>
          <ac:spMkLst>
            <pc:docMk/>
            <pc:sldMk cId="3556834676" sldId="336"/>
            <ac:spMk id="408" creationId="{F45B73FD-6BFA-48D3-85AC-4DAC612C48B1}"/>
          </ac:spMkLst>
        </pc:spChg>
        <pc:spChg chg="add">
          <ac:chgData name="Andy Roberts" userId="b6430d21-8e5e-4d9c-81e9-e1ae515d6d74" providerId="ADAL" clId="{356C853E-D027-4183-864D-1C71215F695F}" dt="2017-12-05T18:20:00.096" v="509" actId="2696"/>
          <ac:spMkLst>
            <pc:docMk/>
            <pc:sldMk cId="3556834676" sldId="336"/>
            <ac:spMk id="409" creationId="{0FE3846C-8A80-4C9C-BCC4-F5859A3A92E1}"/>
          </ac:spMkLst>
        </pc:spChg>
        <pc:spChg chg="add">
          <ac:chgData name="Andy Roberts" userId="b6430d21-8e5e-4d9c-81e9-e1ae515d6d74" providerId="ADAL" clId="{356C853E-D027-4183-864D-1C71215F695F}" dt="2017-12-05T18:20:00.096" v="509" actId="2696"/>
          <ac:spMkLst>
            <pc:docMk/>
            <pc:sldMk cId="3556834676" sldId="336"/>
            <ac:spMk id="410" creationId="{5F485887-D80B-4D7B-9C8B-2412DF4EA38F}"/>
          </ac:spMkLst>
        </pc:spChg>
        <pc:spChg chg="add">
          <ac:chgData name="Andy Roberts" userId="b6430d21-8e5e-4d9c-81e9-e1ae515d6d74" providerId="ADAL" clId="{356C853E-D027-4183-864D-1C71215F695F}" dt="2017-12-05T18:20:00.096" v="509" actId="2696"/>
          <ac:spMkLst>
            <pc:docMk/>
            <pc:sldMk cId="3556834676" sldId="336"/>
            <ac:spMk id="411" creationId="{92139C56-A95E-41C6-835B-BC5875F3D9D9}"/>
          </ac:spMkLst>
        </pc:spChg>
        <pc:spChg chg="add">
          <ac:chgData name="Andy Roberts" userId="b6430d21-8e5e-4d9c-81e9-e1ae515d6d74" providerId="ADAL" clId="{356C853E-D027-4183-864D-1C71215F695F}" dt="2017-12-05T18:20:00.096" v="509" actId="2696"/>
          <ac:spMkLst>
            <pc:docMk/>
            <pc:sldMk cId="3556834676" sldId="336"/>
            <ac:spMk id="412" creationId="{973A0642-F7D7-4666-92FB-8160B1813496}"/>
          </ac:spMkLst>
        </pc:spChg>
        <pc:spChg chg="add">
          <ac:chgData name="Andy Roberts" userId="b6430d21-8e5e-4d9c-81e9-e1ae515d6d74" providerId="ADAL" clId="{356C853E-D027-4183-864D-1C71215F695F}" dt="2017-12-05T18:20:00.096" v="509" actId="2696"/>
          <ac:spMkLst>
            <pc:docMk/>
            <pc:sldMk cId="3556834676" sldId="336"/>
            <ac:spMk id="413" creationId="{79DB857A-0B08-44D8-870D-D6D4F4E2D0FB}"/>
          </ac:spMkLst>
        </pc:spChg>
        <pc:spChg chg="add">
          <ac:chgData name="Andy Roberts" userId="b6430d21-8e5e-4d9c-81e9-e1ae515d6d74" providerId="ADAL" clId="{356C853E-D027-4183-864D-1C71215F695F}" dt="2017-12-05T18:20:00.096" v="509" actId="2696"/>
          <ac:spMkLst>
            <pc:docMk/>
            <pc:sldMk cId="3556834676" sldId="336"/>
            <ac:spMk id="414" creationId="{6251B21C-D53A-46E2-BE9B-105BE0F69531}"/>
          </ac:spMkLst>
        </pc:spChg>
        <pc:spChg chg="add">
          <ac:chgData name="Andy Roberts" userId="b6430d21-8e5e-4d9c-81e9-e1ae515d6d74" providerId="ADAL" clId="{356C853E-D027-4183-864D-1C71215F695F}" dt="2017-12-05T18:20:00.096" v="509" actId="2696"/>
          <ac:spMkLst>
            <pc:docMk/>
            <pc:sldMk cId="3556834676" sldId="336"/>
            <ac:spMk id="415" creationId="{85F7BD91-CE36-48F0-8312-3B23E6CE4259}"/>
          </ac:spMkLst>
        </pc:spChg>
        <pc:spChg chg="add">
          <ac:chgData name="Andy Roberts" userId="b6430d21-8e5e-4d9c-81e9-e1ae515d6d74" providerId="ADAL" clId="{356C853E-D027-4183-864D-1C71215F695F}" dt="2017-12-05T18:20:00.096" v="509" actId="2696"/>
          <ac:spMkLst>
            <pc:docMk/>
            <pc:sldMk cId="3556834676" sldId="336"/>
            <ac:spMk id="416" creationId="{E7420F2C-256F-424B-8A8E-EB978189A714}"/>
          </ac:spMkLst>
        </pc:spChg>
        <pc:spChg chg="add">
          <ac:chgData name="Andy Roberts" userId="b6430d21-8e5e-4d9c-81e9-e1ae515d6d74" providerId="ADAL" clId="{356C853E-D027-4183-864D-1C71215F695F}" dt="2017-12-05T18:20:00.096" v="509" actId="2696"/>
          <ac:spMkLst>
            <pc:docMk/>
            <pc:sldMk cId="3556834676" sldId="336"/>
            <ac:spMk id="417" creationId="{C602D18D-4A7B-4A67-90DF-E8023ACF7F4D}"/>
          </ac:spMkLst>
        </pc:spChg>
        <pc:spChg chg="add">
          <ac:chgData name="Andy Roberts" userId="b6430d21-8e5e-4d9c-81e9-e1ae515d6d74" providerId="ADAL" clId="{356C853E-D027-4183-864D-1C71215F695F}" dt="2017-12-05T18:20:00.096" v="509" actId="2696"/>
          <ac:spMkLst>
            <pc:docMk/>
            <pc:sldMk cId="3556834676" sldId="336"/>
            <ac:spMk id="418" creationId="{DB8888EC-CA1C-4123-AEC7-BB939222F286}"/>
          </ac:spMkLst>
        </pc:spChg>
        <pc:spChg chg="add">
          <ac:chgData name="Andy Roberts" userId="b6430d21-8e5e-4d9c-81e9-e1ae515d6d74" providerId="ADAL" clId="{356C853E-D027-4183-864D-1C71215F695F}" dt="2017-12-05T18:20:00.096" v="509" actId="2696"/>
          <ac:spMkLst>
            <pc:docMk/>
            <pc:sldMk cId="3556834676" sldId="336"/>
            <ac:spMk id="419" creationId="{CACC8CC7-0691-4A84-A94B-4A0C1A3F769D}"/>
          </ac:spMkLst>
        </pc:spChg>
        <pc:spChg chg="add">
          <ac:chgData name="Andy Roberts" userId="b6430d21-8e5e-4d9c-81e9-e1ae515d6d74" providerId="ADAL" clId="{356C853E-D027-4183-864D-1C71215F695F}" dt="2017-12-05T18:20:00.096" v="509" actId="2696"/>
          <ac:spMkLst>
            <pc:docMk/>
            <pc:sldMk cId="3556834676" sldId="336"/>
            <ac:spMk id="420" creationId="{2AE4350D-FE83-4F15-8612-BDC9198447EC}"/>
          </ac:spMkLst>
        </pc:spChg>
        <pc:spChg chg="add">
          <ac:chgData name="Andy Roberts" userId="b6430d21-8e5e-4d9c-81e9-e1ae515d6d74" providerId="ADAL" clId="{356C853E-D027-4183-864D-1C71215F695F}" dt="2017-12-05T18:20:00.096" v="509" actId="2696"/>
          <ac:spMkLst>
            <pc:docMk/>
            <pc:sldMk cId="3556834676" sldId="336"/>
            <ac:spMk id="421" creationId="{41D364B6-C0F3-4B42-BD26-9A2004086EBC}"/>
          </ac:spMkLst>
        </pc:spChg>
        <pc:spChg chg="add">
          <ac:chgData name="Andy Roberts" userId="b6430d21-8e5e-4d9c-81e9-e1ae515d6d74" providerId="ADAL" clId="{356C853E-D027-4183-864D-1C71215F695F}" dt="2017-12-05T18:20:00.096" v="509" actId="2696"/>
          <ac:spMkLst>
            <pc:docMk/>
            <pc:sldMk cId="3556834676" sldId="336"/>
            <ac:spMk id="422" creationId="{129E1D91-0BB8-4C6D-818C-A8A039706E0A}"/>
          </ac:spMkLst>
        </pc:spChg>
        <pc:spChg chg="add">
          <ac:chgData name="Andy Roberts" userId="b6430d21-8e5e-4d9c-81e9-e1ae515d6d74" providerId="ADAL" clId="{356C853E-D027-4183-864D-1C71215F695F}" dt="2017-12-05T18:20:00.096" v="509" actId="2696"/>
          <ac:spMkLst>
            <pc:docMk/>
            <pc:sldMk cId="3556834676" sldId="336"/>
            <ac:spMk id="423" creationId="{D9663608-E18B-49E1-B892-57F6B4060FE3}"/>
          </ac:spMkLst>
        </pc:spChg>
        <pc:spChg chg="add">
          <ac:chgData name="Andy Roberts" userId="b6430d21-8e5e-4d9c-81e9-e1ae515d6d74" providerId="ADAL" clId="{356C853E-D027-4183-864D-1C71215F695F}" dt="2017-12-05T18:20:00.096" v="509" actId="2696"/>
          <ac:spMkLst>
            <pc:docMk/>
            <pc:sldMk cId="3556834676" sldId="336"/>
            <ac:spMk id="424" creationId="{B949E82A-F99B-4D35-B811-97E68CDC7FA8}"/>
          </ac:spMkLst>
        </pc:spChg>
        <pc:spChg chg="add">
          <ac:chgData name="Andy Roberts" userId="b6430d21-8e5e-4d9c-81e9-e1ae515d6d74" providerId="ADAL" clId="{356C853E-D027-4183-864D-1C71215F695F}" dt="2017-12-05T18:20:00.096" v="509" actId="2696"/>
          <ac:spMkLst>
            <pc:docMk/>
            <pc:sldMk cId="3556834676" sldId="336"/>
            <ac:spMk id="425" creationId="{64449984-4B18-43F7-8659-5FD193685AAD}"/>
          </ac:spMkLst>
        </pc:spChg>
        <pc:spChg chg="add">
          <ac:chgData name="Andy Roberts" userId="b6430d21-8e5e-4d9c-81e9-e1ae515d6d74" providerId="ADAL" clId="{356C853E-D027-4183-864D-1C71215F695F}" dt="2017-12-05T18:20:00.096" v="509" actId="2696"/>
          <ac:spMkLst>
            <pc:docMk/>
            <pc:sldMk cId="3556834676" sldId="336"/>
            <ac:spMk id="426" creationId="{6822757F-107C-40CB-ABA2-F81B889180AF}"/>
          </ac:spMkLst>
        </pc:spChg>
        <pc:spChg chg="add">
          <ac:chgData name="Andy Roberts" userId="b6430d21-8e5e-4d9c-81e9-e1ae515d6d74" providerId="ADAL" clId="{356C853E-D027-4183-864D-1C71215F695F}" dt="2017-12-05T18:20:00.096" v="509" actId="2696"/>
          <ac:spMkLst>
            <pc:docMk/>
            <pc:sldMk cId="3556834676" sldId="336"/>
            <ac:spMk id="427" creationId="{E3A80028-97FD-493F-ADC2-D5585CD6A6F9}"/>
          </ac:spMkLst>
        </pc:spChg>
        <pc:spChg chg="add">
          <ac:chgData name="Andy Roberts" userId="b6430d21-8e5e-4d9c-81e9-e1ae515d6d74" providerId="ADAL" clId="{356C853E-D027-4183-864D-1C71215F695F}" dt="2017-12-05T18:20:00.096" v="509" actId="2696"/>
          <ac:spMkLst>
            <pc:docMk/>
            <pc:sldMk cId="3556834676" sldId="336"/>
            <ac:spMk id="428" creationId="{221A907F-0498-4ED4-A0AA-642B93870798}"/>
          </ac:spMkLst>
        </pc:spChg>
        <pc:spChg chg="add">
          <ac:chgData name="Andy Roberts" userId="b6430d21-8e5e-4d9c-81e9-e1ae515d6d74" providerId="ADAL" clId="{356C853E-D027-4183-864D-1C71215F695F}" dt="2017-12-05T18:20:00.096" v="509" actId="2696"/>
          <ac:spMkLst>
            <pc:docMk/>
            <pc:sldMk cId="3556834676" sldId="336"/>
            <ac:spMk id="429" creationId="{B8D8B51C-51CF-4EDF-9455-B3BB12EAE4A2}"/>
          </ac:spMkLst>
        </pc:spChg>
        <pc:spChg chg="add">
          <ac:chgData name="Andy Roberts" userId="b6430d21-8e5e-4d9c-81e9-e1ae515d6d74" providerId="ADAL" clId="{356C853E-D027-4183-864D-1C71215F695F}" dt="2017-12-05T18:20:00.096" v="509" actId="2696"/>
          <ac:spMkLst>
            <pc:docMk/>
            <pc:sldMk cId="3556834676" sldId="336"/>
            <ac:spMk id="430" creationId="{AA901A72-4F85-49C1-B00C-3D8112A04686}"/>
          </ac:spMkLst>
        </pc:spChg>
        <pc:spChg chg="add">
          <ac:chgData name="Andy Roberts" userId="b6430d21-8e5e-4d9c-81e9-e1ae515d6d74" providerId="ADAL" clId="{356C853E-D027-4183-864D-1C71215F695F}" dt="2017-12-05T18:20:00.096" v="509" actId="2696"/>
          <ac:spMkLst>
            <pc:docMk/>
            <pc:sldMk cId="3556834676" sldId="336"/>
            <ac:spMk id="431" creationId="{1FFDBC70-FE25-4AFD-BF6C-90F011769C62}"/>
          </ac:spMkLst>
        </pc:spChg>
        <pc:spChg chg="add">
          <ac:chgData name="Andy Roberts" userId="b6430d21-8e5e-4d9c-81e9-e1ae515d6d74" providerId="ADAL" clId="{356C853E-D027-4183-864D-1C71215F695F}" dt="2017-12-05T18:20:00.096" v="509" actId="2696"/>
          <ac:spMkLst>
            <pc:docMk/>
            <pc:sldMk cId="3556834676" sldId="336"/>
            <ac:spMk id="432" creationId="{787914E2-4F0F-4EB6-A746-4330F5AA7814}"/>
          </ac:spMkLst>
        </pc:spChg>
        <pc:spChg chg="add">
          <ac:chgData name="Andy Roberts" userId="b6430d21-8e5e-4d9c-81e9-e1ae515d6d74" providerId="ADAL" clId="{356C853E-D027-4183-864D-1C71215F695F}" dt="2017-12-05T18:20:00.096" v="509" actId="2696"/>
          <ac:spMkLst>
            <pc:docMk/>
            <pc:sldMk cId="3556834676" sldId="336"/>
            <ac:spMk id="433" creationId="{735F41E0-BACA-4F80-B3CD-EEED2A3C3222}"/>
          </ac:spMkLst>
        </pc:spChg>
        <pc:spChg chg="add">
          <ac:chgData name="Andy Roberts" userId="b6430d21-8e5e-4d9c-81e9-e1ae515d6d74" providerId="ADAL" clId="{356C853E-D027-4183-864D-1C71215F695F}" dt="2017-12-05T18:20:00.096" v="509" actId="2696"/>
          <ac:spMkLst>
            <pc:docMk/>
            <pc:sldMk cId="3556834676" sldId="336"/>
            <ac:spMk id="434" creationId="{B292D934-5929-49B9-9C87-CE23D5B5271C}"/>
          </ac:spMkLst>
        </pc:spChg>
        <pc:spChg chg="add">
          <ac:chgData name="Andy Roberts" userId="b6430d21-8e5e-4d9c-81e9-e1ae515d6d74" providerId="ADAL" clId="{356C853E-D027-4183-864D-1C71215F695F}" dt="2017-12-05T18:20:00.096" v="509" actId="2696"/>
          <ac:spMkLst>
            <pc:docMk/>
            <pc:sldMk cId="3556834676" sldId="336"/>
            <ac:spMk id="435" creationId="{3CFDF5E7-8659-4AFE-91FC-C0445E7F3AFA}"/>
          </ac:spMkLst>
        </pc:spChg>
        <pc:spChg chg="add">
          <ac:chgData name="Andy Roberts" userId="b6430d21-8e5e-4d9c-81e9-e1ae515d6d74" providerId="ADAL" clId="{356C853E-D027-4183-864D-1C71215F695F}" dt="2017-12-05T18:20:00.096" v="509" actId="2696"/>
          <ac:spMkLst>
            <pc:docMk/>
            <pc:sldMk cId="3556834676" sldId="336"/>
            <ac:spMk id="436" creationId="{6C46CCD6-6B16-45F5-A028-6275CEEB26F3}"/>
          </ac:spMkLst>
        </pc:spChg>
        <pc:spChg chg="add">
          <ac:chgData name="Andy Roberts" userId="b6430d21-8e5e-4d9c-81e9-e1ae515d6d74" providerId="ADAL" clId="{356C853E-D027-4183-864D-1C71215F695F}" dt="2017-12-05T18:20:00.096" v="509" actId="2696"/>
          <ac:spMkLst>
            <pc:docMk/>
            <pc:sldMk cId="3556834676" sldId="336"/>
            <ac:spMk id="437" creationId="{A2717416-49F3-4A86-AEDB-22C77148AC75}"/>
          </ac:spMkLst>
        </pc:spChg>
        <pc:spChg chg="add">
          <ac:chgData name="Andy Roberts" userId="b6430d21-8e5e-4d9c-81e9-e1ae515d6d74" providerId="ADAL" clId="{356C853E-D027-4183-864D-1C71215F695F}" dt="2017-12-05T18:20:00.096" v="509" actId="2696"/>
          <ac:spMkLst>
            <pc:docMk/>
            <pc:sldMk cId="3556834676" sldId="336"/>
            <ac:spMk id="438" creationId="{3EEF762D-3FF1-4C3C-97BD-04C80A47D76B}"/>
          </ac:spMkLst>
        </pc:spChg>
        <pc:spChg chg="add del">
          <ac:chgData name="Andy Roberts" userId="b6430d21-8e5e-4d9c-81e9-e1ae515d6d74" providerId="ADAL" clId="{356C853E-D027-4183-864D-1C71215F695F}" dt="2017-12-05T18:20:41.259" v="518" actId="2696"/>
          <ac:spMkLst>
            <pc:docMk/>
            <pc:sldMk cId="3556834676" sldId="336"/>
            <ac:spMk id="439" creationId="{167CB5DD-7218-459C-B41E-5CAD938016A9}"/>
          </ac:spMkLst>
        </pc:spChg>
        <pc:spChg chg="add">
          <ac:chgData name="Andy Roberts" userId="b6430d21-8e5e-4d9c-81e9-e1ae515d6d74" providerId="ADAL" clId="{356C853E-D027-4183-864D-1C71215F695F}" dt="2017-12-05T18:20:41.267" v="519" actId="2696"/>
          <ac:spMkLst>
            <pc:docMk/>
            <pc:sldMk cId="3556834676" sldId="336"/>
            <ac:spMk id="440" creationId="{CBB39C37-CABE-472C-8E1B-3A69C4833EF4}"/>
          </ac:spMkLst>
        </pc:spChg>
        <pc:grpChg chg="add mod">
          <ac:chgData name="Andy Roberts" userId="b6430d21-8e5e-4d9c-81e9-e1ae515d6d74" providerId="ADAL" clId="{356C853E-D027-4183-864D-1C71215F695F}" dt="2017-12-05T18:19:46.183" v="502" actId="2696"/>
          <ac:grpSpMkLst>
            <pc:docMk/>
            <pc:sldMk cId="3556834676" sldId="336"/>
            <ac:grpSpMk id="6" creationId="{C424969A-50EB-46E9-94B7-A1F02BD890A6}"/>
          </ac:grpSpMkLst>
        </pc:grpChg>
        <pc:grpChg chg="add mod">
          <ac:chgData name="Andy Roberts" userId="b6430d21-8e5e-4d9c-81e9-e1ae515d6d74" providerId="ADAL" clId="{356C853E-D027-4183-864D-1C71215F695F}" dt="2017-12-05T18:19:46.183" v="502" actId="2696"/>
          <ac:grpSpMkLst>
            <pc:docMk/>
            <pc:sldMk cId="3556834676" sldId="336"/>
            <ac:grpSpMk id="39" creationId="{A3B90B89-919D-49F0-8758-20F1EBF73E8B}"/>
          </ac:grpSpMkLst>
        </pc:grpChg>
        <pc:grpChg chg="add mod">
          <ac:chgData name="Andy Roberts" userId="b6430d21-8e5e-4d9c-81e9-e1ae515d6d74" providerId="ADAL" clId="{356C853E-D027-4183-864D-1C71215F695F}" dt="2017-12-05T18:19:46.183" v="502" actId="2696"/>
          <ac:grpSpMkLst>
            <pc:docMk/>
            <pc:sldMk cId="3556834676" sldId="336"/>
            <ac:grpSpMk id="40" creationId="{B73AA018-6BE9-4A03-BFB5-9021B58A091D}"/>
          </ac:grpSpMkLst>
        </pc:grpChg>
        <pc:grpChg chg="add mod">
          <ac:chgData name="Andy Roberts" userId="b6430d21-8e5e-4d9c-81e9-e1ae515d6d74" providerId="ADAL" clId="{356C853E-D027-4183-864D-1C71215F695F}" dt="2017-12-05T18:19:46.183" v="502" actId="2696"/>
          <ac:grpSpMkLst>
            <pc:docMk/>
            <pc:sldMk cId="3556834676" sldId="336"/>
            <ac:grpSpMk id="41" creationId="{AF1B46CB-1471-4BDC-B47E-9A1FF3F1FBAB}"/>
          </ac:grpSpMkLst>
        </pc:grpChg>
        <pc:grpChg chg="add mod">
          <ac:chgData name="Andy Roberts" userId="b6430d21-8e5e-4d9c-81e9-e1ae515d6d74" providerId="ADAL" clId="{356C853E-D027-4183-864D-1C71215F695F}" dt="2017-12-05T18:19:46.183" v="502" actId="2696"/>
          <ac:grpSpMkLst>
            <pc:docMk/>
            <pc:sldMk cId="3556834676" sldId="336"/>
            <ac:grpSpMk id="42" creationId="{3ECD3823-97EA-44AE-B114-E55280C3AC8B}"/>
          </ac:grpSpMkLst>
        </pc:grpChg>
        <pc:grpChg chg="add mod">
          <ac:chgData name="Andy Roberts" userId="b6430d21-8e5e-4d9c-81e9-e1ae515d6d74" providerId="ADAL" clId="{356C853E-D027-4183-864D-1C71215F695F}" dt="2017-12-05T18:19:46.183" v="502" actId="2696"/>
          <ac:grpSpMkLst>
            <pc:docMk/>
            <pc:sldMk cId="3556834676" sldId="336"/>
            <ac:grpSpMk id="43" creationId="{66F542E6-3923-49A0-A080-F400547D8502}"/>
          </ac:grpSpMkLst>
        </pc:grpChg>
        <pc:grpChg chg="add mod">
          <ac:chgData name="Andy Roberts" userId="b6430d21-8e5e-4d9c-81e9-e1ae515d6d74" providerId="ADAL" clId="{356C853E-D027-4183-864D-1C71215F695F}" dt="2017-12-05T18:19:46.183" v="502" actId="2696"/>
          <ac:grpSpMkLst>
            <pc:docMk/>
            <pc:sldMk cId="3556834676" sldId="336"/>
            <ac:grpSpMk id="44" creationId="{C6497E96-42E4-4DD6-8760-6E33D144ED6B}"/>
          </ac:grpSpMkLst>
        </pc:grpChg>
        <pc:grpChg chg="add mod">
          <ac:chgData name="Andy Roberts" userId="b6430d21-8e5e-4d9c-81e9-e1ae515d6d74" providerId="ADAL" clId="{356C853E-D027-4183-864D-1C71215F695F}" dt="2017-12-05T18:19:46.183" v="502" actId="2696"/>
          <ac:grpSpMkLst>
            <pc:docMk/>
            <pc:sldMk cId="3556834676" sldId="336"/>
            <ac:grpSpMk id="45" creationId="{88634BA3-3BD9-425E-AFD8-E035CE26B712}"/>
          </ac:grpSpMkLst>
        </pc:grpChg>
        <pc:grpChg chg="add mod">
          <ac:chgData name="Andy Roberts" userId="b6430d21-8e5e-4d9c-81e9-e1ae515d6d74" providerId="ADAL" clId="{356C853E-D027-4183-864D-1C71215F695F}" dt="2017-12-05T18:19:46.183" v="502" actId="2696"/>
          <ac:grpSpMkLst>
            <pc:docMk/>
            <pc:sldMk cId="3556834676" sldId="336"/>
            <ac:grpSpMk id="46" creationId="{010C25D4-586E-4A5E-A733-F3CF77AC974D}"/>
          </ac:grpSpMkLst>
        </pc:grpChg>
        <pc:grpChg chg="add mod">
          <ac:chgData name="Andy Roberts" userId="b6430d21-8e5e-4d9c-81e9-e1ae515d6d74" providerId="ADAL" clId="{356C853E-D027-4183-864D-1C71215F695F}" dt="2017-12-05T18:19:46.183" v="502" actId="2696"/>
          <ac:grpSpMkLst>
            <pc:docMk/>
            <pc:sldMk cId="3556834676" sldId="336"/>
            <ac:grpSpMk id="47" creationId="{25135AB5-793F-4175-A313-0F0A83227FF0}"/>
          </ac:grpSpMkLst>
        </pc:grpChg>
        <pc:grpChg chg="add mod">
          <ac:chgData name="Andy Roberts" userId="b6430d21-8e5e-4d9c-81e9-e1ae515d6d74" providerId="ADAL" clId="{356C853E-D027-4183-864D-1C71215F695F}" dt="2017-12-05T18:19:46.183" v="502" actId="2696"/>
          <ac:grpSpMkLst>
            <pc:docMk/>
            <pc:sldMk cId="3556834676" sldId="336"/>
            <ac:grpSpMk id="48" creationId="{FD3640E3-2774-4E44-8379-B0E37DE2177F}"/>
          </ac:grpSpMkLst>
        </pc:grpChg>
        <pc:grpChg chg="add mod">
          <ac:chgData name="Andy Roberts" userId="b6430d21-8e5e-4d9c-81e9-e1ae515d6d74" providerId="ADAL" clId="{356C853E-D027-4183-864D-1C71215F695F}" dt="2017-12-05T18:19:58.012" v="507" actId="2696"/>
          <ac:grpSpMkLst>
            <pc:docMk/>
            <pc:sldMk cId="3556834676" sldId="336"/>
            <ac:grpSpMk id="151" creationId="{720D4D95-5F51-4EE6-834C-387033714ABD}"/>
          </ac:grpSpMkLst>
        </pc:grpChg>
        <pc:grpChg chg="add mod">
          <ac:chgData name="Andy Roberts" userId="b6430d21-8e5e-4d9c-81e9-e1ae515d6d74" providerId="ADAL" clId="{356C853E-D027-4183-864D-1C71215F695F}" dt="2017-12-05T18:19:57.984" v="506" actId="2696"/>
          <ac:grpSpMkLst>
            <pc:docMk/>
            <pc:sldMk cId="3556834676" sldId="336"/>
            <ac:grpSpMk id="184" creationId="{FA6C09C8-EBBF-469F-8106-EF3FC3E4037A}"/>
          </ac:grpSpMkLst>
        </pc:grpChg>
        <pc:grpChg chg="add mod">
          <ac:chgData name="Andy Roberts" userId="b6430d21-8e5e-4d9c-81e9-e1ae515d6d74" providerId="ADAL" clId="{356C853E-D027-4183-864D-1C71215F695F}" dt="2017-12-05T18:19:57.984" v="506" actId="2696"/>
          <ac:grpSpMkLst>
            <pc:docMk/>
            <pc:sldMk cId="3556834676" sldId="336"/>
            <ac:grpSpMk id="185" creationId="{8741DAF1-1451-4B00-B18E-DA6ECB54FED0}"/>
          </ac:grpSpMkLst>
        </pc:grpChg>
        <pc:grpChg chg="add mod">
          <ac:chgData name="Andy Roberts" userId="b6430d21-8e5e-4d9c-81e9-e1ae515d6d74" providerId="ADAL" clId="{356C853E-D027-4183-864D-1C71215F695F}" dt="2017-12-05T18:19:57.984" v="506" actId="2696"/>
          <ac:grpSpMkLst>
            <pc:docMk/>
            <pc:sldMk cId="3556834676" sldId="336"/>
            <ac:grpSpMk id="186" creationId="{6C48E186-F3F4-4195-825D-865779196622}"/>
          </ac:grpSpMkLst>
        </pc:grpChg>
        <pc:grpChg chg="add mod">
          <ac:chgData name="Andy Roberts" userId="b6430d21-8e5e-4d9c-81e9-e1ae515d6d74" providerId="ADAL" clId="{356C853E-D027-4183-864D-1C71215F695F}" dt="2017-12-05T18:19:57.984" v="506" actId="2696"/>
          <ac:grpSpMkLst>
            <pc:docMk/>
            <pc:sldMk cId="3556834676" sldId="336"/>
            <ac:grpSpMk id="187" creationId="{1045983E-FF96-4054-9492-8B194E6E373F}"/>
          </ac:grpSpMkLst>
        </pc:grpChg>
        <pc:grpChg chg="add mod">
          <ac:chgData name="Andy Roberts" userId="b6430d21-8e5e-4d9c-81e9-e1ae515d6d74" providerId="ADAL" clId="{356C853E-D027-4183-864D-1C71215F695F}" dt="2017-12-05T18:19:57.984" v="506" actId="2696"/>
          <ac:grpSpMkLst>
            <pc:docMk/>
            <pc:sldMk cId="3556834676" sldId="336"/>
            <ac:grpSpMk id="188" creationId="{6CA6BAFA-CA15-4F59-8AA8-B90BE5965C2E}"/>
          </ac:grpSpMkLst>
        </pc:grpChg>
        <pc:grpChg chg="add mod">
          <ac:chgData name="Andy Roberts" userId="b6430d21-8e5e-4d9c-81e9-e1ae515d6d74" providerId="ADAL" clId="{356C853E-D027-4183-864D-1C71215F695F}" dt="2017-12-05T18:19:57.984" v="506" actId="2696"/>
          <ac:grpSpMkLst>
            <pc:docMk/>
            <pc:sldMk cId="3556834676" sldId="336"/>
            <ac:grpSpMk id="189" creationId="{5E82D47E-739C-4E0D-A68D-19EC76510362}"/>
          </ac:grpSpMkLst>
        </pc:grpChg>
        <pc:grpChg chg="add mod">
          <ac:chgData name="Andy Roberts" userId="b6430d21-8e5e-4d9c-81e9-e1ae515d6d74" providerId="ADAL" clId="{356C853E-D027-4183-864D-1C71215F695F}" dt="2017-12-05T18:19:57.984" v="506" actId="2696"/>
          <ac:grpSpMkLst>
            <pc:docMk/>
            <pc:sldMk cId="3556834676" sldId="336"/>
            <ac:grpSpMk id="190" creationId="{8E35B0CF-90C9-4F74-A392-186F4D39F92B}"/>
          </ac:grpSpMkLst>
        </pc:grpChg>
        <pc:grpChg chg="add mod">
          <ac:chgData name="Andy Roberts" userId="b6430d21-8e5e-4d9c-81e9-e1ae515d6d74" providerId="ADAL" clId="{356C853E-D027-4183-864D-1C71215F695F}" dt="2017-12-05T18:19:57.984" v="506" actId="2696"/>
          <ac:grpSpMkLst>
            <pc:docMk/>
            <pc:sldMk cId="3556834676" sldId="336"/>
            <ac:grpSpMk id="191" creationId="{33808D91-8A00-407B-A39F-EA46BA68DB7F}"/>
          </ac:grpSpMkLst>
        </pc:grpChg>
        <pc:grpChg chg="add mod">
          <ac:chgData name="Andy Roberts" userId="b6430d21-8e5e-4d9c-81e9-e1ae515d6d74" providerId="ADAL" clId="{356C853E-D027-4183-864D-1C71215F695F}" dt="2017-12-05T18:19:57.984" v="506" actId="2696"/>
          <ac:grpSpMkLst>
            <pc:docMk/>
            <pc:sldMk cId="3556834676" sldId="336"/>
            <ac:grpSpMk id="192" creationId="{A9513231-B379-407A-BA6B-AF93D8A8ED10}"/>
          </ac:grpSpMkLst>
        </pc:grpChg>
        <pc:grpChg chg="add mod">
          <ac:chgData name="Andy Roberts" userId="b6430d21-8e5e-4d9c-81e9-e1ae515d6d74" providerId="ADAL" clId="{356C853E-D027-4183-864D-1C71215F695F}" dt="2017-12-05T18:19:57.984" v="506" actId="2696"/>
          <ac:grpSpMkLst>
            <pc:docMk/>
            <pc:sldMk cId="3556834676" sldId="336"/>
            <ac:grpSpMk id="193" creationId="{FF324605-E735-4A54-AFB8-215664FE6331}"/>
          </ac:grpSpMkLst>
        </pc:grpChg>
        <pc:grpChg chg="add del mod">
          <ac:chgData name="Andy Roberts" userId="b6430d21-8e5e-4d9c-81e9-e1ae515d6d74" providerId="ADAL" clId="{356C853E-D027-4183-864D-1C71215F695F}" dt="2017-12-05T18:20:05.617" v="511" actId="478"/>
          <ac:grpSpMkLst>
            <pc:docMk/>
            <pc:sldMk cId="3556834676" sldId="336"/>
            <ac:grpSpMk id="296" creationId="{5D7D929E-4C14-4FC9-8FE0-F2AED088FD64}"/>
          </ac:grpSpMkLst>
        </pc:grpChg>
        <pc:grpChg chg="add mod">
          <ac:chgData name="Andy Roberts" userId="b6430d21-8e5e-4d9c-81e9-e1ae515d6d74" providerId="ADAL" clId="{356C853E-D027-4183-864D-1C71215F695F}" dt="2017-12-05T18:20:00.096" v="509" actId="2696"/>
          <ac:grpSpMkLst>
            <pc:docMk/>
            <pc:sldMk cId="3556834676" sldId="336"/>
            <ac:grpSpMk id="329" creationId="{69A22844-39DD-4017-AE27-38420B11EFFB}"/>
          </ac:grpSpMkLst>
        </pc:grpChg>
        <pc:grpChg chg="add mod">
          <ac:chgData name="Andy Roberts" userId="b6430d21-8e5e-4d9c-81e9-e1ae515d6d74" providerId="ADAL" clId="{356C853E-D027-4183-864D-1C71215F695F}" dt="2017-12-05T18:20:00.096" v="509" actId="2696"/>
          <ac:grpSpMkLst>
            <pc:docMk/>
            <pc:sldMk cId="3556834676" sldId="336"/>
            <ac:grpSpMk id="330" creationId="{2B8BF1C6-24F3-4A2A-8700-24DA42A7E052}"/>
          </ac:grpSpMkLst>
        </pc:grpChg>
        <pc:grpChg chg="add mod">
          <ac:chgData name="Andy Roberts" userId="b6430d21-8e5e-4d9c-81e9-e1ae515d6d74" providerId="ADAL" clId="{356C853E-D027-4183-864D-1C71215F695F}" dt="2017-12-05T18:20:00.096" v="509" actId="2696"/>
          <ac:grpSpMkLst>
            <pc:docMk/>
            <pc:sldMk cId="3556834676" sldId="336"/>
            <ac:grpSpMk id="331" creationId="{7272693D-6641-4FAB-9BB1-7082A0F7DD69}"/>
          </ac:grpSpMkLst>
        </pc:grpChg>
        <pc:grpChg chg="add mod">
          <ac:chgData name="Andy Roberts" userId="b6430d21-8e5e-4d9c-81e9-e1ae515d6d74" providerId="ADAL" clId="{356C853E-D027-4183-864D-1C71215F695F}" dt="2017-12-05T18:20:00.096" v="509" actId="2696"/>
          <ac:grpSpMkLst>
            <pc:docMk/>
            <pc:sldMk cId="3556834676" sldId="336"/>
            <ac:grpSpMk id="332" creationId="{BD117F13-28B9-474B-8E49-A61720C849FC}"/>
          </ac:grpSpMkLst>
        </pc:grpChg>
        <pc:grpChg chg="add mod">
          <ac:chgData name="Andy Roberts" userId="b6430d21-8e5e-4d9c-81e9-e1ae515d6d74" providerId="ADAL" clId="{356C853E-D027-4183-864D-1C71215F695F}" dt="2017-12-05T18:20:00.096" v="509" actId="2696"/>
          <ac:grpSpMkLst>
            <pc:docMk/>
            <pc:sldMk cId="3556834676" sldId="336"/>
            <ac:grpSpMk id="333" creationId="{1C9EC414-337C-4565-BC3D-A6D3F7755B4F}"/>
          </ac:grpSpMkLst>
        </pc:grpChg>
        <pc:grpChg chg="add mod">
          <ac:chgData name="Andy Roberts" userId="b6430d21-8e5e-4d9c-81e9-e1ae515d6d74" providerId="ADAL" clId="{356C853E-D027-4183-864D-1C71215F695F}" dt="2017-12-05T18:20:00.096" v="509" actId="2696"/>
          <ac:grpSpMkLst>
            <pc:docMk/>
            <pc:sldMk cId="3556834676" sldId="336"/>
            <ac:grpSpMk id="334" creationId="{6054E6C2-1133-4B08-98E7-04B5B8048A28}"/>
          </ac:grpSpMkLst>
        </pc:grpChg>
        <pc:grpChg chg="add mod">
          <ac:chgData name="Andy Roberts" userId="b6430d21-8e5e-4d9c-81e9-e1ae515d6d74" providerId="ADAL" clId="{356C853E-D027-4183-864D-1C71215F695F}" dt="2017-12-05T18:20:00.096" v="509" actId="2696"/>
          <ac:grpSpMkLst>
            <pc:docMk/>
            <pc:sldMk cId="3556834676" sldId="336"/>
            <ac:grpSpMk id="335" creationId="{00CC6EF4-3470-4318-A092-76B47CEAEA70}"/>
          </ac:grpSpMkLst>
        </pc:grpChg>
        <pc:grpChg chg="add mod">
          <ac:chgData name="Andy Roberts" userId="b6430d21-8e5e-4d9c-81e9-e1ae515d6d74" providerId="ADAL" clId="{356C853E-D027-4183-864D-1C71215F695F}" dt="2017-12-05T18:20:00.096" v="509" actId="2696"/>
          <ac:grpSpMkLst>
            <pc:docMk/>
            <pc:sldMk cId="3556834676" sldId="336"/>
            <ac:grpSpMk id="336" creationId="{5AF375A4-E19B-4BC5-9BE8-7FA0F0308125}"/>
          </ac:grpSpMkLst>
        </pc:grpChg>
        <pc:grpChg chg="add mod">
          <ac:chgData name="Andy Roberts" userId="b6430d21-8e5e-4d9c-81e9-e1ae515d6d74" providerId="ADAL" clId="{356C853E-D027-4183-864D-1C71215F695F}" dt="2017-12-05T18:20:00.096" v="509" actId="2696"/>
          <ac:grpSpMkLst>
            <pc:docMk/>
            <pc:sldMk cId="3556834676" sldId="336"/>
            <ac:grpSpMk id="337" creationId="{4E044037-B78F-40FF-8445-8313F5A5C41B}"/>
          </ac:grpSpMkLst>
        </pc:grpChg>
        <pc:grpChg chg="add mod">
          <ac:chgData name="Andy Roberts" userId="b6430d21-8e5e-4d9c-81e9-e1ae515d6d74" providerId="ADAL" clId="{356C853E-D027-4183-864D-1C71215F695F}" dt="2017-12-05T18:20:00.096" v="509" actId="2696"/>
          <ac:grpSpMkLst>
            <pc:docMk/>
            <pc:sldMk cId="3556834676" sldId="336"/>
            <ac:grpSpMk id="338" creationId="{B8595C30-CC6E-4A59-AF9D-9E1660A8A35A}"/>
          </ac:grpSpMkLst>
        </pc:grpChg>
        <pc:cxnChg chg="add">
          <ac:chgData name="Andy Roberts" userId="b6430d21-8e5e-4d9c-81e9-e1ae515d6d74" providerId="ADAL" clId="{356C853E-D027-4183-864D-1C71215F695F}" dt="2017-12-05T18:19:09.011" v="493" actId="2696"/>
          <ac:cxnSpMkLst>
            <pc:docMk/>
            <pc:sldMk cId="3556834676" sldId="336"/>
            <ac:cxnSpMk id="17" creationId="{5A6BAA92-FC03-4E6D-98A3-559123EE04BD}"/>
          </ac:cxnSpMkLst>
        </pc:cxnChg>
        <pc:cxnChg chg="add">
          <ac:chgData name="Andy Roberts" userId="b6430d21-8e5e-4d9c-81e9-e1ae515d6d74" providerId="ADAL" clId="{356C853E-D027-4183-864D-1C71215F695F}" dt="2017-12-05T18:19:09.011" v="493" actId="2696"/>
          <ac:cxnSpMkLst>
            <pc:docMk/>
            <pc:sldMk cId="3556834676" sldId="336"/>
            <ac:cxnSpMk id="18" creationId="{166D059A-328C-4DA2-B2DD-271A06EFF5FF}"/>
          </ac:cxnSpMkLst>
        </pc:cxnChg>
        <pc:cxnChg chg="add">
          <ac:chgData name="Andy Roberts" userId="b6430d21-8e5e-4d9c-81e9-e1ae515d6d74" providerId="ADAL" clId="{356C853E-D027-4183-864D-1C71215F695F}" dt="2017-12-05T18:19:09.011" v="493" actId="2696"/>
          <ac:cxnSpMkLst>
            <pc:docMk/>
            <pc:sldMk cId="3556834676" sldId="336"/>
            <ac:cxnSpMk id="19" creationId="{B5C5E73B-D8EE-427A-AEB4-1C58EBAFC5D9}"/>
          </ac:cxnSpMkLst>
        </pc:cxnChg>
        <pc:cxnChg chg="add">
          <ac:chgData name="Andy Roberts" userId="b6430d21-8e5e-4d9c-81e9-e1ae515d6d74" providerId="ADAL" clId="{356C853E-D027-4183-864D-1C71215F695F}" dt="2017-12-05T18:19:09.011" v="493" actId="2696"/>
          <ac:cxnSpMkLst>
            <pc:docMk/>
            <pc:sldMk cId="3556834676" sldId="336"/>
            <ac:cxnSpMk id="30" creationId="{6688044F-46ED-430B-B30E-D07ABF37346E}"/>
          </ac:cxnSpMkLst>
        </pc:cxnChg>
        <pc:cxnChg chg="add">
          <ac:chgData name="Andy Roberts" userId="b6430d21-8e5e-4d9c-81e9-e1ae515d6d74" providerId="ADAL" clId="{356C853E-D027-4183-864D-1C71215F695F}" dt="2017-12-05T18:19:09.011" v="493" actId="2696"/>
          <ac:cxnSpMkLst>
            <pc:docMk/>
            <pc:sldMk cId="3556834676" sldId="336"/>
            <ac:cxnSpMk id="31" creationId="{32877F15-A12F-4169-9088-F0E6D4ADD571}"/>
          </ac:cxnSpMkLst>
        </pc:cxnChg>
        <pc:cxnChg chg="add">
          <ac:chgData name="Andy Roberts" userId="b6430d21-8e5e-4d9c-81e9-e1ae515d6d74" providerId="ADAL" clId="{356C853E-D027-4183-864D-1C71215F695F}" dt="2017-12-05T18:19:09.011" v="493" actId="2696"/>
          <ac:cxnSpMkLst>
            <pc:docMk/>
            <pc:sldMk cId="3556834676" sldId="336"/>
            <ac:cxnSpMk id="32" creationId="{7A189F5E-925C-43C5-8D8C-2B87225A4AAB}"/>
          </ac:cxnSpMkLst>
        </pc:cxnChg>
        <pc:cxnChg chg="add">
          <ac:chgData name="Andy Roberts" userId="b6430d21-8e5e-4d9c-81e9-e1ae515d6d74" providerId="ADAL" clId="{356C853E-D027-4183-864D-1C71215F695F}" dt="2017-12-05T18:19:09.011" v="493" actId="2696"/>
          <ac:cxnSpMkLst>
            <pc:docMk/>
            <pc:sldMk cId="3556834676" sldId="336"/>
            <ac:cxnSpMk id="33" creationId="{7332EC34-8F6D-4730-AEF0-E4C6FF8AB18B}"/>
          </ac:cxnSpMkLst>
        </pc:cxnChg>
        <pc:cxnChg chg="add">
          <ac:chgData name="Andy Roberts" userId="b6430d21-8e5e-4d9c-81e9-e1ae515d6d74" providerId="ADAL" clId="{356C853E-D027-4183-864D-1C71215F695F}" dt="2017-12-05T18:19:09.011" v="493" actId="2696"/>
          <ac:cxnSpMkLst>
            <pc:docMk/>
            <pc:sldMk cId="3556834676" sldId="336"/>
            <ac:cxnSpMk id="34" creationId="{FB01D860-1640-4D54-ABB9-6AE503D2803A}"/>
          </ac:cxnSpMkLst>
        </pc:cxnChg>
        <pc:cxnChg chg="add">
          <ac:chgData name="Andy Roberts" userId="b6430d21-8e5e-4d9c-81e9-e1ae515d6d74" providerId="ADAL" clId="{356C853E-D027-4183-864D-1C71215F695F}" dt="2017-12-05T18:19:09.011" v="493" actId="2696"/>
          <ac:cxnSpMkLst>
            <pc:docMk/>
            <pc:sldMk cId="3556834676" sldId="336"/>
            <ac:cxnSpMk id="37" creationId="{7CCCE395-923B-44E4-96B2-E1A71EC768A1}"/>
          </ac:cxnSpMkLst>
        </pc:cxnChg>
        <pc:cxnChg chg="add">
          <ac:chgData name="Andy Roberts" userId="b6430d21-8e5e-4d9c-81e9-e1ae515d6d74" providerId="ADAL" clId="{356C853E-D027-4183-864D-1C71215F695F}" dt="2017-12-05T18:19:54.159" v="505" actId="2696"/>
          <ac:cxnSpMkLst>
            <pc:docMk/>
            <pc:sldMk cId="3556834676" sldId="336"/>
            <ac:cxnSpMk id="162" creationId="{59E7353B-2BFD-4ACA-993D-36681A70C8CB}"/>
          </ac:cxnSpMkLst>
        </pc:cxnChg>
        <pc:cxnChg chg="add">
          <ac:chgData name="Andy Roberts" userId="b6430d21-8e5e-4d9c-81e9-e1ae515d6d74" providerId="ADAL" clId="{356C853E-D027-4183-864D-1C71215F695F}" dt="2017-12-05T18:19:54.159" v="505" actId="2696"/>
          <ac:cxnSpMkLst>
            <pc:docMk/>
            <pc:sldMk cId="3556834676" sldId="336"/>
            <ac:cxnSpMk id="163" creationId="{ADA7181C-7E3E-4135-8D5F-93CD7FC4D0AF}"/>
          </ac:cxnSpMkLst>
        </pc:cxnChg>
        <pc:cxnChg chg="add">
          <ac:chgData name="Andy Roberts" userId="b6430d21-8e5e-4d9c-81e9-e1ae515d6d74" providerId="ADAL" clId="{356C853E-D027-4183-864D-1C71215F695F}" dt="2017-12-05T18:19:54.159" v="505" actId="2696"/>
          <ac:cxnSpMkLst>
            <pc:docMk/>
            <pc:sldMk cId="3556834676" sldId="336"/>
            <ac:cxnSpMk id="164" creationId="{604EAE88-3AC4-42F3-BBCF-541755802FAD}"/>
          </ac:cxnSpMkLst>
        </pc:cxnChg>
        <pc:cxnChg chg="add">
          <ac:chgData name="Andy Roberts" userId="b6430d21-8e5e-4d9c-81e9-e1ae515d6d74" providerId="ADAL" clId="{356C853E-D027-4183-864D-1C71215F695F}" dt="2017-12-05T18:19:54.159" v="505" actId="2696"/>
          <ac:cxnSpMkLst>
            <pc:docMk/>
            <pc:sldMk cId="3556834676" sldId="336"/>
            <ac:cxnSpMk id="175" creationId="{EC1218B3-C9BD-4B42-BA0C-2722CE452440}"/>
          </ac:cxnSpMkLst>
        </pc:cxnChg>
        <pc:cxnChg chg="add">
          <ac:chgData name="Andy Roberts" userId="b6430d21-8e5e-4d9c-81e9-e1ae515d6d74" providerId="ADAL" clId="{356C853E-D027-4183-864D-1C71215F695F}" dt="2017-12-05T18:19:54.159" v="505" actId="2696"/>
          <ac:cxnSpMkLst>
            <pc:docMk/>
            <pc:sldMk cId="3556834676" sldId="336"/>
            <ac:cxnSpMk id="176" creationId="{DA3B24C9-3A7B-42CE-BF6C-1B5B984AB479}"/>
          </ac:cxnSpMkLst>
        </pc:cxnChg>
        <pc:cxnChg chg="add">
          <ac:chgData name="Andy Roberts" userId="b6430d21-8e5e-4d9c-81e9-e1ae515d6d74" providerId="ADAL" clId="{356C853E-D027-4183-864D-1C71215F695F}" dt="2017-12-05T18:19:54.159" v="505" actId="2696"/>
          <ac:cxnSpMkLst>
            <pc:docMk/>
            <pc:sldMk cId="3556834676" sldId="336"/>
            <ac:cxnSpMk id="177" creationId="{93914D4D-EA81-4314-9607-2C078066D98C}"/>
          </ac:cxnSpMkLst>
        </pc:cxnChg>
        <pc:cxnChg chg="add">
          <ac:chgData name="Andy Roberts" userId="b6430d21-8e5e-4d9c-81e9-e1ae515d6d74" providerId="ADAL" clId="{356C853E-D027-4183-864D-1C71215F695F}" dt="2017-12-05T18:19:54.159" v="505" actId="2696"/>
          <ac:cxnSpMkLst>
            <pc:docMk/>
            <pc:sldMk cId="3556834676" sldId="336"/>
            <ac:cxnSpMk id="178" creationId="{B5C380A3-611D-4153-BB67-FD817BFCC234}"/>
          </ac:cxnSpMkLst>
        </pc:cxnChg>
        <pc:cxnChg chg="add">
          <ac:chgData name="Andy Roberts" userId="b6430d21-8e5e-4d9c-81e9-e1ae515d6d74" providerId="ADAL" clId="{356C853E-D027-4183-864D-1C71215F695F}" dt="2017-12-05T18:19:54.159" v="505" actId="2696"/>
          <ac:cxnSpMkLst>
            <pc:docMk/>
            <pc:sldMk cId="3556834676" sldId="336"/>
            <ac:cxnSpMk id="179" creationId="{62F9FD83-3345-489B-8819-64878CA09D38}"/>
          </ac:cxnSpMkLst>
        </pc:cxnChg>
        <pc:cxnChg chg="add">
          <ac:chgData name="Andy Roberts" userId="b6430d21-8e5e-4d9c-81e9-e1ae515d6d74" providerId="ADAL" clId="{356C853E-D027-4183-864D-1C71215F695F}" dt="2017-12-05T18:19:54.159" v="505" actId="2696"/>
          <ac:cxnSpMkLst>
            <pc:docMk/>
            <pc:sldMk cId="3556834676" sldId="336"/>
            <ac:cxnSpMk id="182" creationId="{1CDC50E5-3E71-4B8E-8E3D-3B7A9ADD2977}"/>
          </ac:cxnSpMkLst>
        </pc:cxnChg>
        <pc:cxnChg chg="add del mod">
          <ac:chgData name="Andy Roberts" userId="b6430d21-8e5e-4d9c-81e9-e1ae515d6d74" providerId="ADAL" clId="{356C853E-D027-4183-864D-1C71215F695F}" dt="2017-12-05T18:20:05.617" v="511" actId="478"/>
          <ac:cxnSpMkLst>
            <pc:docMk/>
            <pc:sldMk cId="3556834676" sldId="336"/>
            <ac:cxnSpMk id="307" creationId="{207415CD-7565-472D-8CA5-5B6914E35013}"/>
          </ac:cxnSpMkLst>
        </pc:cxnChg>
        <pc:cxnChg chg="add del mod">
          <ac:chgData name="Andy Roberts" userId="b6430d21-8e5e-4d9c-81e9-e1ae515d6d74" providerId="ADAL" clId="{356C853E-D027-4183-864D-1C71215F695F}" dt="2017-12-05T18:20:05.617" v="511" actId="478"/>
          <ac:cxnSpMkLst>
            <pc:docMk/>
            <pc:sldMk cId="3556834676" sldId="336"/>
            <ac:cxnSpMk id="308" creationId="{8A6DEF2D-2AFF-4D72-927D-4F0CA355B71D}"/>
          </ac:cxnSpMkLst>
        </pc:cxnChg>
        <pc:cxnChg chg="add del">
          <ac:chgData name="Andy Roberts" userId="b6430d21-8e5e-4d9c-81e9-e1ae515d6d74" providerId="ADAL" clId="{356C853E-D027-4183-864D-1C71215F695F}" dt="2017-12-05T18:20:05.617" v="511" actId="478"/>
          <ac:cxnSpMkLst>
            <pc:docMk/>
            <pc:sldMk cId="3556834676" sldId="336"/>
            <ac:cxnSpMk id="309" creationId="{D962D284-F265-43F0-B021-FCE25E21B097}"/>
          </ac:cxnSpMkLst>
        </pc:cxnChg>
        <pc:cxnChg chg="add del mod">
          <ac:chgData name="Andy Roberts" userId="b6430d21-8e5e-4d9c-81e9-e1ae515d6d74" providerId="ADAL" clId="{356C853E-D027-4183-864D-1C71215F695F}" dt="2017-12-05T18:20:05.617" v="511" actId="478"/>
          <ac:cxnSpMkLst>
            <pc:docMk/>
            <pc:sldMk cId="3556834676" sldId="336"/>
            <ac:cxnSpMk id="320" creationId="{2BFB34D5-D9B6-429E-8FFE-BC2E1D7D5A16}"/>
          </ac:cxnSpMkLst>
        </pc:cxnChg>
        <pc:cxnChg chg="add del mod">
          <ac:chgData name="Andy Roberts" userId="b6430d21-8e5e-4d9c-81e9-e1ae515d6d74" providerId="ADAL" clId="{356C853E-D027-4183-864D-1C71215F695F}" dt="2017-12-05T18:20:05.617" v="511" actId="478"/>
          <ac:cxnSpMkLst>
            <pc:docMk/>
            <pc:sldMk cId="3556834676" sldId="336"/>
            <ac:cxnSpMk id="321" creationId="{7DAC29B2-E980-4B0D-9E3E-6D8D820C8DE0}"/>
          </ac:cxnSpMkLst>
        </pc:cxnChg>
        <pc:cxnChg chg="add del mod">
          <ac:chgData name="Andy Roberts" userId="b6430d21-8e5e-4d9c-81e9-e1ae515d6d74" providerId="ADAL" clId="{356C853E-D027-4183-864D-1C71215F695F}" dt="2017-12-05T18:20:05.617" v="511" actId="478"/>
          <ac:cxnSpMkLst>
            <pc:docMk/>
            <pc:sldMk cId="3556834676" sldId="336"/>
            <ac:cxnSpMk id="322" creationId="{1038B887-4B1E-4FFF-B815-45C25310DF00}"/>
          </ac:cxnSpMkLst>
        </pc:cxnChg>
        <pc:cxnChg chg="add del mod">
          <ac:chgData name="Andy Roberts" userId="b6430d21-8e5e-4d9c-81e9-e1ae515d6d74" providerId="ADAL" clId="{356C853E-D027-4183-864D-1C71215F695F}" dt="2017-12-05T18:20:05.617" v="511" actId="478"/>
          <ac:cxnSpMkLst>
            <pc:docMk/>
            <pc:sldMk cId="3556834676" sldId="336"/>
            <ac:cxnSpMk id="323" creationId="{F8B16B39-A765-4713-BBE7-F55CDA7C4246}"/>
          </ac:cxnSpMkLst>
        </pc:cxnChg>
        <pc:cxnChg chg="add del mod">
          <ac:chgData name="Andy Roberts" userId="b6430d21-8e5e-4d9c-81e9-e1ae515d6d74" providerId="ADAL" clId="{356C853E-D027-4183-864D-1C71215F695F}" dt="2017-12-05T18:20:05.617" v="511" actId="478"/>
          <ac:cxnSpMkLst>
            <pc:docMk/>
            <pc:sldMk cId="3556834676" sldId="336"/>
            <ac:cxnSpMk id="324" creationId="{5469FF22-2737-44F5-AB4F-B0F6D65487BE}"/>
          </ac:cxnSpMkLst>
        </pc:cxnChg>
        <pc:cxnChg chg="add del mod">
          <ac:chgData name="Andy Roberts" userId="b6430d21-8e5e-4d9c-81e9-e1ae515d6d74" providerId="ADAL" clId="{356C853E-D027-4183-864D-1C71215F695F}" dt="2017-12-05T18:20:05.617" v="511" actId="478"/>
          <ac:cxnSpMkLst>
            <pc:docMk/>
            <pc:sldMk cId="3556834676" sldId="336"/>
            <ac:cxnSpMk id="327" creationId="{808473BE-8557-432B-8308-97B9E05D1B4D}"/>
          </ac:cxnSpMkLst>
        </pc:cxnChg>
      </pc:sldChg>
      <pc:sldChg chg="addSp delSp modSp add ord modAnim">
        <pc:chgData name="Andy Roberts" userId="b6430d21-8e5e-4d9c-81e9-e1ae515d6d74" providerId="ADAL" clId="{356C853E-D027-4183-864D-1C71215F695F}" dt="2017-12-05T18:40:46.967" v="562" actId="404"/>
        <pc:sldMkLst>
          <pc:docMk/>
          <pc:sldMk cId="2653521965" sldId="337"/>
        </pc:sldMkLst>
        <pc:spChg chg="del">
          <ac:chgData name="Andy Roberts" userId="b6430d21-8e5e-4d9c-81e9-e1ae515d6d74" providerId="ADAL" clId="{356C853E-D027-4183-864D-1C71215F695F}" dt="2017-12-05T18:21:59.870" v="524" actId="478"/>
          <ac:spMkLst>
            <pc:docMk/>
            <pc:sldMk cId="2653521965" sldId="337"/>
            <ac:spMk id="2" creationId="{7761B5D0-BC8D-46BD-A56F-3D1681267973}"/>
          </ac:spMkLst>
        </pc:spChg>
        <pc:spChg chg="del">
          <ac:chgData name="Andy Roberts" userId="b6430d21-8e5e-4d9c-81e9-e1ae515d6d74" providerId="ADAL" clId="{356C853E-D027-4183-864D-1C71215F695F}" dt="2017-12-05T18:22:01.405" v="525" actId="478"/>
          <ac:spMkLst>
            <pc:docMk/>
            <pc:sldMk cId="2653521965" sldId="337"/>
            <ac:spMk id="3" creationId="{FE591FCD-7557-42B5-B23B-B4AC98F37208}"/>
          </ac:spMkLst>
        </pc:spChg>
        <pc:spChg chg="add del">
          <ac:chgData name="Andy Roberts" userId="b6430d21-8e5e-4d9c-81e9-e1ae515d6d74" providerId="ADAL" clId="{356C853E-D027-4183-864D-1C71215F695F}" dt="2017-12-05T18:21:56.096" v="523" actId="404"/>
          <ac:spMkLst>
            <pc:docMk/>
            <pc:sldMk cId="2653521965" sldId="337"/>
            <ac:spMk id="4" creationId="{1B2DAD21-C796-437E-8A64-C8471D891BBA}"/>
          </ac:spMkLst>
        </pc:spChg>
        <pc:spChg chg="add del">
          <ac:chgData name="Andy Roberts" userId="b6430d21-8e5e-4d9c-81e9-e1ae515d6d74" providerId="ADAL" clId="{356C853E-D027-4183-864D-1C71215F695F}" dt="2017-12-05T18:21:56.096" v="523" actId="404"/>
          <ac:spMkLst>
            <pc:docMk/>
            <pc:sldMk cId="2653521965" sldId="337"/>
            <ac:spMk id="5" creationId="{24D9A621-EE2A-41A7-B291-918ACB8DE7D1}"/>
          </ac:spMkLst>
        </pc:spChg>
        <pc:spChg chg="add del">
          <ac:chgData name="Andy Roberts" userId="b6430d21-8e5e-4d9c-81e9-e1ae515d6d74" providerId="ADAL" clId="{356C853E-D027-4183-864D-1C71215F695F}" dt="2017-12-05T18:22:05.965" v="529" actId="404"/>
          <ac:spMkLst>
            <pc:docMk/>
            <pc:sldMk cId="2653521965" sldId="337"/>
            <ac:spMk id="7" creationId="{49E31699-7929-4B57-9E63-AACBE4B89E1D}"/>
          </ac:spMkLst>
        </pc:spChg>
        <pc:spChg chg="add del">
          <ac:chgData name="Andy Roberts" userId="b6430d21-8e5e-4d9c-81e9-e1ae515d6d74" providerId="ADAL" clId="{356C853E-D027-4183-864D-1C71215F695F}" dt="2017-12-05T18:22:05.965" v="529" actId="404"/>
          <ac:spMkLst>
            <pc:docMk/>
            <pc:sldMk cId="2653521965" sldId="337"/>
            <ac:spMk id="8" creationId="{7F1C53BF-E4CD-450A-BEF6-48458E049F33}"/>
          </ac:spMkLst>
        </pc:spChg>
        <pc:spChg chg="add">
          <ac:chgData name="Andy Roberts" userId="b6430d21-8e5e-4d9c-81e9-e1ae515d6d74" providerId="ADAL" clId="{356C853E-D027-4183-864D-1C71215F695F}" dt="2017-12-05T18:22:05.986" v="530" actId="404"/>
          <ac:spMkLst>
            <pc:docMk/>
            <pc:sldMk cId="2653521965" sldId="337"/>
            <ac:spMk id="10" creationId="{077C05AD-7848-4527-ACC0-137716851B85}"/>
          </ac:spMkLst>
        </pc:spChg>
        <pc:spChg chg="add mod">
          <ac:chgData name="Andy Roberts" userId="b6430d21-8e5e-4d9c-81e9-e1ae515d6d74" providerId="ADAL" clId="{356C853E-D027-4183-864D-1C71215F695F}" dt="2017-12-05T18:40:46.967" v="562" actId="404"/>
          <ac:spMkLst>
            <pc:docMk/>
            <pc:sldMk cId="2653521965" sldId="337"/>
            <ac:spMk id="11" creationId="{FD1D4B2B-E8C5-425E-95C9-F9AA624490F0}"/>
          </ac:spMkLst>
        </pc:spChg>
        <pc:picChg chg="add del">
          <ac:chgData name="Andy Roberts" userId="b6430d21-8e5e-4d9c-81e9-e1ae515d6d74" providerId="ADAL" clId="{356C853E-D027-4183-864D-1C71215F695F}" dt="2017-12-05T18:21:56.096" v="523" actId="404"/>
          <ac:picMkLst>
            <pc:docMk/>
            <pc:sldMk cId="2653521965" sldId="337"/>
            <ac:picMk id="6" creationId="{56F59B68-02E5-4F34-8223-827EA948F0CC}"/>
          </ac:picMkLst>
        </pc:picChg>
        <pc:picChg chg="add del">
          <ac:chgData name="Andy Roberts" userId="b6430d21-8e5e-4d9c-81e9-e1ae515d6d74" providerId="ADAL" clId="{356C853E-D027-4183-864D-1C71215F695F}" dt="2017-12-05T18:22:05.965" v="529" actId="404"/>
          <ac:picMkLst>
            <pc:docMk/>
            <pc:sldMk cId="2653521965" sldId="337"/>
            <ac:picMk id="9" creationId="{4D63E200-9DA7-4B38-BADA-05A9A9F6E180}"/>
          </ac:picMkLst>
        </pc:picChg>
        <pc:picChg chg="add">
          <ac:chgData name="Andy Roberts" userId="b6430d21-8e5e-4d9c-81e9-e1ae515d6d74" providerId="ADAL" clId="{356C853E-D027-4183-864D-1C71215F695F}" dt="2017-12-05T18:22:05.986" v="530" actId="404"/>
          <ac:picMkLst>
            <pc:docMk/>
            <pc:sldMk cId="2653521965" sldId="337"/>
            <ac:picMk id="12" creationId="{B588F22A-A59A-4D5F-B7D5-3A44A89EC385}"/>
          </ac:picMkLst>
        </pc:picChg>
      </pc:sldChg>
      <pc:sldChg chg="addSp delSp add del modAnim">
        <pc:chgData name="Andy Roberts" userId="b6430d21-8e5e-4d9c-81e9-e1ae515d6d74" providerId="ADAL" clId="{356C853E-D027-4183-864D-1C71215F695F}" dt="2017-12-05T18:31:25.081" v="543" actId="2696"/>
        <pc:sldMkLst>
          <pc:docMk/>
          <pc:sldMk cId="314485288" sldId="338"/>
        </pc:sldMkLst>
        <pc:spChg chg="del">
          <ac:chgData name="Andy Roberts" userId="b6430d21-8e5e-4d9c-81e9-e1ae515d6d74" providerId="ADAL" clId="{356C853E-D027-4183-864D-1C71215F695F}" dt="2017-12-05T18:22:27.100" v="535" actId="478"/>
          <ac:spMkLst>
            <pc:docMk/>
            <pc:sldMk cId="314485288" sldId="338"/>
            <ac:spMk id="2" creationId="{B3F16848-569C-4646-9E41-73A90F83ABFD}"/>
          </ac:spMkLst>
        </pc:spChg>
        <pc:spChg chg="del">
          <ac:chgData name="Andy Roberts" userId="b6430d21-8e5e-4d9c-81e9-e1ae515d6d74" providerId="ADAL" clId="{356C853E-D027-4183-864D-1C71215F695F}" dt="2017-12-05T18:22:24.887" v="534" actId="478"/>
          <ac:spMkLst>
            <pc:docMk/>
            <pc:sldMk cId="314485288" sldId="338"/>
            <ac:spMk id="3" creationId="{26A356DA-4CFE-4CD9-B82F-7BDE7EFD6F4C}"/>
          </ac:spMkLst>
        </pc:spChg>
        <pc:spChg chg="add del">
          <ac:chgData name="Andy Roberts" userId="b6430d21-8e5e-4d9c-81e9-e1ae515d6d74" providerId="ADAL" clId="{356C853E-D027-4183-864D-1C71215F695F}" dt="2017-12-05T18:22:22.478" v="533" actId="2696"/>
          <ac:spMkLst>
            <pc:docMk/>
            <pc:sldMk cId="314485288" sldId="338"/>
            <ac:spMk id="4" creationId="{D8426245-2B46-49B6-8D76-E8A839CDBC5A}"/>
          </ac:spMkLst>
        </pc:spChg>
        <pc:spChg chg="add del">
          <ac:chgData name="Andy Roberts" userId="b6430d21-8e5e-4d9c-81e9-e1ae515d6d74" providerId="ADAL" clId="{356C853E-D027-4183-864D-1C71215F695F}" dt="2017-12-05T18:22:22.478" v="533" actId="2696"/>
          <ac:spMkLst>
            <pc:docMk/>
            <pc:sldMk cId="314485288" sldId="338"/>
            <ac:spMk id="5" creationId="{61FD4146-7795-4912-9DFC-32EB15D782C0}"/>
          </ac:spMkLst>
        </pc:spChg>
        <pc:spChg chg="add del">
          <ac:chgData name="Andy Roberts" userId="b6430d21-8e5e-4d9c-81e9-e1ae515d6d74" providerId="ADAL" clId="{356C853E-D027-4183-864D-1C71215F695F}" dt="2017-12-05T18:22:33.568" v="539" actId="2696"/>
          <ac:spMkLst>
            <pc:docMk/>
            <pc:sldMk cId="314485288" sldId="338"/>
            <ac:spMk id="7" creationId="{85953EE8-4C39-47F7-9E85-83D06A424459}"/>
          </ac:spMkLst>
        </pc:spChg>
        <pc:spChg chg="add del">
          <ac:chgData name="Andy Roberts" userId="b6430d21-8e5e-4d9c-81e9-e1ae515d6d74" providerId="ADAL" clId="{356C853E-D027-4183-864D-1C71215F695F}" dt="2017-12-05T18:22:33.568" v="539" actId="2696"/>
          <ac:spMkLst>
            <pc:docMk/>
            <pc:sldMk cId="314485288" sldId="338"/>
            <ac:spMk id="8" creationId="{23918458-8908-4E0A-9692-2176CB4E3F94}"/>
          </ac:spMkLst>
        </pc:spChg>
        <pc:spChg chg="add">
          <ac:chgData name="Andy Roberts" userId="b6430d21-8e5e-4d9c-81e9-e1ae515d6d74" providerId="ADAL" clId="{356C853E-D027-4183-864D-1C71215F695F}" dt="2017-12-05T18:22:33.588" v="540" actId="2696"/>
          <ac:spMkLst>
            <pc:docMk/>
            <pc:sldMk cId="314485288" sldId="338"/>
            <ac:spMk id="10" creationId="{A878CA7F-BBFE-4457-9FEC-770C14F1C183}"/>
          </ac:spMkLst>
        </pc:spChg>
        <pc:spChg chg="add">
          <ac:chgData name="Andy Roberts" userId="b6430d21-8e5e-4d9c-81e9-e1ae515d6d74" providerId="ADAL" clId="{356C853E-D027-4183-864D-1C71215F695F}" dt="2017-12-05T18:22:33.588" v="540" actId="2696"/>
          <ac:spMkLst>
            <pc:docMk/>
            <pc:sldMk cId="314485288" sldId="338"/>
            <ac:spMk id="11" creationId="{1BD21887-FB1B-4F6D-9C5C-E35D2399BB26}"/>
          </ac:spMkLst>
        </pc:spChg>
        <pc:picChg chg="add del">
          <ac:chgData name="Andy Roberts" userId="b6430d21-8e5e-4d9c-81e9-e1ae515d6d74" providerId="ADAL" clId="{356C853E-D027-4183-864D-1C71215F695F}" dt="2017-12-05T18:22:22.478" v="533" actId="2696"/>
          <ac:picMkLst>
            <pc:docMk/>
            <pc:sldMk cId="314485288" sldId="338"/>
            <ac:picMk id="6" creationId="{EF7FC040-B7BC-4B57-9639-0355BF91D110}"/>
          </ac:picMkLst>
        </pc:picChg>
        <pc:picChg chg="add del">
          <ac:chgData name="Andy Roberts" userId="b6430d21-8e5e-4d9c-81e9-e1ae515d6d74" providerId="ADAL" clId="{356C853E-D027-4183-864D-1C71215F695F}" dt="2017-12-05T18:22:33.568" v="539" actId="2696"/>
          <ac:picMkLst>
            <pc:docMk/>
            <pc:sldMk cId="314485288" sldId="338"/>
            <ac:picMk id="9" creationId="{E0BD2470-DA16-435B-809D-3FB8973776E9}"/>
          </ac:picMkLst>
        </pc:picChg>
        <pc:picChg chg="add">
          <ac:chgData name="Andy Roberts" userId="b6430d21-8e5e-4d9c-81e9-e1ae515d6d74" providerId="ADAL" clId="{356C853E-D027-4183-864D-1C71215F695F}" dt="2017-12-05T18:22:33.588" v="540" actId="2696"/>
          <ac:picMkLst>
            <pc:docMk/>
            <pc:sldMk cId="314485288" sldId="338"/>
            <ac:picMk id="12" creationId="{BAD40BC1-DA6A-4D6F-81D8-C791B77D0EA9}"/>
          </ac:picMkLst>
        </pc:picChg>
      </pc:sldChg>
      <pc:sldChg chg="add setBg">
        <pc:chgData name="Andy Roberts" userId="b6430d21-8e5e-4d9c-81e9-e1ae515d6d74" providerId="ADAL" clId="{356C853E-D027-4183-864D-1C71215F695F}" dt="2017-12-05T18:57:43.080" v="667" actId="2696"/>
        <pc:sldMkLst>
          <pc:docMk/>
          <pc:sldMk cId="4019357465" sldId="338"/>
        </pc:sldMkLst>
      </pc:sldChg>
      <pc:sldChg chg="add setBg">
        <pc:chgData name="Andy Roberts" userId="b6430d21-8e5e-4d9c-81e9-e1ae515d6d74" providerId="ADAL" clId="{356C853E-D027-4183-864D-1C71215F695F}" dt="2017-12-05T18:57:43.080" v="667" actId="2696"/>
        <pc:sldMkLst>
          <pc:docMk/>
          <pc:sldMk cId="387612803" sldId="339"/>
        </pc:sldMkLst>
      </pc:sldChg>
      <pc:sldMasterChg chg="modSldLayout">
        <pc:chgData name="Andy Roberts" userId="b6430d21-8e5e-4d9c-81e9-e1ae515d6d74" providerId="ADAL" clId="{356C853E-D027-4183-864D-1C71215F695F}" dt="2017-12-05T17:48:57.836" v="52" actId="478"/>
        <pc:sldMasterMkLst>
          <pc:docMk/>
          <pc:sldMasterMk cId="3118783959" sldId="2147483660"/>
        </pc:sldMasterMkLst>
        <pc:sldLayoutChg chg="delSp">
          <pc:chgData name="Andy Roberts" userId="b6430d21-8e5e-4d9c-81e9-e1ae515d6d74" providerId="ADAL" clId="{356C853E-D027-4183-864D-1C71215F695F}" dt="2017-12-05T17:48:57.836" v="52" actId="478"/>
          <pc:sldLayoutMkLst>
            <pc:docMk/>
            <pc:sldMasterMk cId="3118783959" sldId="2147483660"/>
            <pc:sldLayoutMk cId="942519667" sldId="2147483661"/>
          </pc:sldLayoutMkLst>
          <pc:spChg chg="del">
            <ac:chgData name="Andy Roberts" userId="b6430d21-8e5e-4d9c-81e9-e1ae515d6d74" providerId="ADAL" clId="{356C853E-D027-4183-864D-1C71215F695F}" dt="2017-12-05T17:48:57.836" v="52" actId="478"/>
            <ac:spMkLst>
              <pc:docMk/>
              <pc:sldMasterMk cId="3118783959" sldId="2147483660"/>
              <pc:sldLayoutMk cId="942519667" sldId="2147483661"/>
              <ac:spMk id="7" creationId="{00000000-0000-0000-0000-000000000000}"/>
            </ac:spMkLst>
          </pc:spChg>
        </pc:sldLayoutChg>
        <pc:sldLayoutChg chg="delSp">
          <pc:chgData name="Andy Roberts" userId="b6430d21-8e5e-4d9c-81e9-e1ae515d6d74" providerId="ADAL" clId="{356C853E-D027-4183-864D-1C71215F695F}" dt="2017-12-05T17:48:51.450" v="51" actId="478"/>
          <pc:sldLayoutMkLst>
            <pc:docMk/>
            <pc:sldMasterMk cId="3118783959" sldId="2147483660"/>
            <pc:sldLayoutMk cId="3823260024" sldId="2147483667"/>
          </pc:sldLayoutMkLst>
          <pc:spChg chg="del">
            <ac:chgData name="Andy Roberts" userId="b6430d21-8e5e-4d9c-81e9-e1ae515d6d74" providerId="ADAL" clId="{356C853E-D027-4183-864D-1C71215F695F}" dt="2017-12-05T17:48:51.450" v="51" actId="478"/>
            <ac:spMkLst>
              <pc:docMk/>
              <pc:sldMasterMk cId="3118783959" sldId="2147483660"/>
              <pc:sldLayoutMk cId="3823260024" sldId="2147483667"/>
              <ac:spMk id="7" creationId="{00000000-0000-0000-0000-000000000000}"/>
            </ac:spMkLst>
          </pc:spChg>
        </pc:sldLayoutChg>
        <pc:sldLayoutChg chg="delSp">
          <pc:chgData name="Andy Roberts" userId="b6430d21-8e5e-4d9c-81e9-e1ae515d6d74" providerId="ADAL" clId="{356C853E-D027-4183-864D-1C71215F695F}" dt="2017-12-05T17:47:44.148" v="35" actId="478"/>
          <pc:sldLayoutMkLst>
            <pc:docMk/>
            <pc:sldMasterMk cId="3118783959" sldId="2147483660"/>
            <pc:sldLayoutMk cId="2679350113" sldId="2147483670"/>
          </pc:sldLayoutMkLst>
          <pc:spChg chg="del">
            <ac:chgData name="Andy Roberts" userId="b6430d21-8e5e-4d9c-81e9-e1ae515d6d74" providerId="ADAL" clId="{356C853E-D027-4183-864D-1C71215F695F}" dt="2017-12-05T17:47:44.148" v="35" actId="478"/>
            <ac:spMkLst>
              <pc:docMk/>
              <pc:sldMasterMk cId="3118783959" sldId="2147483660"/>
              <pc:sldLayoutMk cId="2679350113" sldId="2147483670"/>
              <ac:spMk id="10" creationId="{00000000-0000-0000-0000-000000000000}"/>
            </ac:spMkLst>
          </pc:spChg>
        </pc:sldLayoutChg>
      </pc:sldMasterChg>
      <pc:sldMasterChg chg="delSldLayout modSldLayout">
        <pc:chgData name="Andy Roberts" userId="b6430d21-8e5e-4d9c-81e9-e1ae515d6d74" providerId="ADAL" clId="{356C853E-D027-4183-864D-1C71215F695F}" dt="2017-12-05T17:48:19.723" v="50" actId="6549"/>
        <pc:sldMasterMkLst>
          <pc:docMk/>
          <pc:sldMasterMk cId="3347020992" sldId="2147483677"/>
        </pc:sldMasterMkLst>
        <pc:sldLayoutChg chg="del">
          <pc:chgData name="Andy Roberts" userId="b6430d21-8e5e-4d9c-81e9-e1ae515d6d74" providerId="ADAL" clId="{356C853E-D027-4183-864D-1C71215F695F}" dt="2017-12-05T17:47:56.593" v="36" actId="2696"/>
          <pc:sldLayoutMkLst>
            <pc:docMk/>
            <pc:sldMasterMk cId="3347020992" sldId="2147483677"/>
            <pc:sldLayoutMk cId="4207384384" sldId="2147483678"/>
          </pc:sldLayoutMkLst>
        </pc:sldLayoutChg>
        <pc:sldLayoutChg chg="del">
          <pc:chgData name="Andy Roberts" userId="b6430d21-8e5e-4d9c-81e9-e1ae515d6d74" providerId="ADAL" clId="{356C853E-D027-4183-864D-1C71215F695F}" dt="2017-12-05T17:47:58.249" v="37" actId="2696"/>
          <pc:sldLayoutMkLst>
            <pc:docMk/>
            <pc:sldMasterMk cId="3347020992" sldId="2147483677"/>
            <pc:sldLayoutMk cId="3509419922" sldId="2147483679"/>
          </pc:sldLayoutMkLst>
        </pc:sldLayoutChg>
        <pc:sldLayoutChg chg="modSp">
          <pc:chgData name="Andy Roberts" userId="b6430d21-8e5e-4d9c-81e9-e1ae515d6d74" providerId="ADAL" clId="{356C853E-D027-4183-864D-1C71215F695F}" dt="2017-12-05T17:48:19.723" v="50" actId="6549"/>
          <pc:sldLayoutMkLst>
            <pc:docMk/>
            <pc:sldMasterMk cId="3347020992" sldId="2147483677"/>
            <pc:sldLayoutMk cId="798358461" sldId="2147483702"/>
          </pc:sldLayoutMkLst>
          <pc:spChg chg="mod">
            <ac:chgData name="Andy Roberts" userId="b6430d21-8e5e-4d9c-81e9-e1ae515d6d74" providerId="ADAL" clId="{356C853E-D027-4183-864D-1C71215F695F}" dt="2017-12-05T17:48:19.723" v="50" actId="6549"/>
            <ac:spMkLst>
              <pc:docMk/>
              <pc:sldMasterMk cId="3347020992" sldId="2147483677"/>
              <pc:sldLayoutMk cId="798358461" sldId="2147483702"/>
              <ac:spMk id="4"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www.larsgeorge.com/2010/01/hbase-architecture-101-write-ahead-log.html"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703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using</a:t>
            </a:r>
            <a:r>
              <a:rPr lang="en-US" baseline="0" dirty="0"/>
              <a:t> the SDK, with VS.</a:t>
            </a:r>
          </a:p>
          <a:p>
            <a:endParaRPr lang="en-US" dirty="0"/>
          </a:p>
          <a:p>
            <a:r>
              <a:rPr lang="en-US" dirty="0"/>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pic is a category or feed name to which messages are published. For each topic, the Kafka cluster maintains a partitioned log that looks like this</a:t>
            </a:r>
            <a:r>
              <a:rPr lang="en-US" baseline="0" dirty="0"/>
              <a:t> diagram</a:t>
            </a:r>
          </a:p>
          <a:p>
            <a:endParaRPr lang="en-US" baseline="0" dirty="0"/>
          </a:p>
          <a:p>
            <a:r>
              <a:rPr lang="en-US" dirty="0"/>
              <a:t>Each partition is an ordered, immutable sequence of messages that is continually appended to—a commit log. </a:t>
            </a:r>
          </a:p>
          <a:p>
            <a:endParaRPr lang="en-US" dirty="0"/>
          </a:p>
          <a:p>
            <a:r>
              <a:rPr lang="en-US" dirty="0"/>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linkClick r:id="rId3"/>
              </a:rPr>
              <a:t>Distribution</a:t>
            </a:r>
            <a:endParaRPr lang="en-US" b="1" dirty="0"/>
          </a:p>
          <a:p>
            <a:r>
              <a:rPr lang="en-US" dirty="0"/>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dirty="0"/>
          </a:p>
          <a:p>
            <a:r>
              <a:rPr lang="en-US" b="1" dirty="0">
                <a:hlinkClick r:id="rId4"/>
              </a:rPr>
              <a:t>Producers</a:t>
            </a:r>
            <a:endParaRPr lang="en-US" b="1" dirty="0"/>
          </a:p>
          <a:p>
            <a:r>
              <a:rPr lang="en-US" dirty="0"/>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dirty="0"/>
          </a:p>
          <a:p>
            <a:r>
              <a:rPr lang="en-US" b="1" dirty="0">
                <a:hlinkClick r:id="rId5"/>
              </a:rPr>
              <a:t>Consumers</a:t>
            </a:r>
            <a:endParaRPr lang="en-US" b="1" dirty="0"/>
          </a:p>
          <a:p>
            <a:r>
              <a:rPr lang="en-US" dirty="0"/>
              <a:t>Consumers label themselves with a consumer group name, and each message published to a topic is delivered to one consumer instance within each subscribing consumer group. Consumer instances can be in separate processes or on separate machines. </a:t>
            </a:r>
          </a:p>
          <a:p>
            <a:r>
              <a:rPr lang="en-US" dirty="0"/>
              <a:t>If all the consumer instances have the same consumer group, then this works just like a traditional queue balancing load over the consumers. </a:t>
            </a:r>
          </a:p>
          <a:p>
            <a:r>
              <a:rPr lang="en-US" dirty="0"/>
              <a:t>If all the consumer instances have different consumer groups, then this works like publish-subscribe and all messages are broadcast to all consumers. </a:t>
            </a:r>
          </a:p>
          <a:p>
            <a:r>
              <a:rPr lang="en-US" dirty="0"/>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look</a:t>
            </a:r>
            <a:r>
              <a:rPr lang="en-US" baseline="0"/>
              <a:t> at this is through an analogy to push notifications to your mobile devices.</a:t>
            </a:r>
          </a:p>
          <a:p>
            <a:r>
              <a:rPr lang="en-US" baseline="0"/>
              <a:t>An applications needs to tell you something, but you have it installed on many devices. If you check the notification on one, you don’t want to read it over and over again on each of your other devices.</a:t>
            </a:r>
          </a:p>
          <a:p>
            <a:r>
              <a:rPr lang="en-US" baseline="0"/>
              <a:t>Queues delete the messages after they’ve been read once, and has protocols in place to make sure that the message isn’t deleted prematurely, to avoid data loss.</a:t>
            </a:r>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a:t>Talk Track: </a:t>
            </a:r>
            <a:r>
              <a:rPr lang="en-US" b="0"/>
              <a:t>In</a:t>
            </a:r>
            <a:r>
              <a:rPr lang="en-US" b="0" baseline="0"/>
              <a:t> order to make sense of how various Big Data technologies fit together, the Open Source community has developed what is know as the Big Data Lambda Architecture. </a:t>
            </a:r>
            <a:r>
              <a:rPr lang="en-US" b="0"/>
              <a:t>The “lambda architecture” </a:t>
            </a:r>
            <a:r>
              <a:rPr lang="en-IN" sz="1000" b="0" i="0" kern="120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a:solidFill>
                  <a:schemeClr val="tx1"/>
                </a:solidFill>
                <a:effectLst/>
                <a:latin typeface="Segoe UI Light" pitchFamily="34" charset="0"/>
                <a:ea typeface="+mn-ea"/>
                <a:cs typeface="+mn-cs"/>
              </a:rPr>
              <a:t>The Batch Layer</a:t>
            </a:r>
            <a:r>
              <a:rPr lang="en-IN" sz="1000" b="0" i="0" u="sng" kern="1200" baseline="0">
                <a:solidFill>
                  <a:schemeClr val="tx1"/>
                </a:solidFill>
                <a:effectLst/>
                <a:latin typeface="Segoe UI Light" pitchFamily="34" charset="0"/>
                <a:ea typeface="+mn-ea"/>
                <a:cs typeface="+mn-cs"/>
              </a:rPr>
              <a:t> </a:t>
            </a:r>
            <a:r>
              <a:rPr lang="en-IN" sz="1000" b="0" i="0" kern="1200" baseline="0">
                <a:solidFill>
                  <a:schemeClr val="tx1"/>
                </a:solidFill>
                <a:effectLst/>
                <a:latin typeface="Segoe UI Light" pitchFamily="34" charset="0"/>
                <a:ea typeface="+mn-ea"/>
                <a:cs typeface="+mn-cs"/>
              </a:rPr>
              <a:t>s</a:t>
            </a:r>
            <a:r>
              <a:rPr lang="en-IN" sz="1000" b="0" i="0" kern="1200">
                <a:solidFill>
                  <a:schemeClr val="tx1"/>
                </a:solidFill>
                <a:effectLst/>
                <a:latin typeface="Segoe UI Light" pitchFamily="34" charset="0"/>
                <a:ea typeface="+mn-ea"/>
                <a:cs typeface="+mn-cs"/>
              </a:rPr>
              <a:t>tores</a:t>
            </a:r>
            <a:r>
              <a:rPr lang="en-IN" sz="1000" b="0" i="0" kern="1200" baseline="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a:solidFill>
                  <a:schemeClr val="tx1"/>
                </a:solidFill>
                <a:effectLst/>
                <a:latin typeface="Segoe UI Light" pitchFamily="34" charset="0"/>
                <a:ea typeface="+mn-ea"/>
                <a:cs typeface="+mn-cs"/>
              </a:rPr>
              <a:t> Read only database. No random writes required.</a:t>
            </a:r>
            <a:r>
              <a:rPr lang="en-IN" sz="1000" b="0" i="0" kern="1200" baseline="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a:solidFill>
                  <a:srgbClr val="FFFFFF"/>
                </a:solidFill>
              </a:rPr>
              <a:t>Speed Layer</a:t>
            </a:r>
            <a:r>
              <a:rPr lang="en-US" sz="1050" b="0" u="sng" kern="0" spc="0" baseline="0">
                <a:solidFill>
                  <a:srgbClr val="FFFFFF"/>
                </a:solidFill>
              </a:rPr>
              <a:t> - </a:t>
            </a:r>
            <a:r>
              <a:rPr lang="en-US" sz="1050" b="0" kern="0" spc="0" baseline="0">
                <a:solidFill>
                  <a:srgbClr val="FFFFFF"/>
                </a:solidFill>
              </a:rPr>
              <a:t>Stream processing and Continuous computation. It provides f</a:t>
            </a:r>
            <a:r>
              <a:rPr lang="en-US" sz="1000" kern="0" spc="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a:solidFill>
                  <a:srgbClr val="FFFFFF"/>
                </a:solidFill>
              </a:rPr>
              <a:t>• MS SQL Server</a:t>
            </a:r>
          </a:p>
          <a:p>
            <a:pPr marL="217183" lvl="1" indent="0">
              <a:spcAft>
                <a:spcPts val="600"/>
              </a:spcAft>
              <a:buFont typeface="Arial" panose="020B0604020202020204" pitchFamily="34" charset="0"/>
              <a:buNone/>
            </a:pPr>
            <a:r>
              <a:rPr lang="en-US" sz="1000" kern="0" spc="0">
                <a:solidFill>
                  <a:srgbClr val="FFFFFF"/>
                </a:solidFill>
              </a:rPr>
              <a:t>• Column Store</a:t>
            </a:r>
          </a:p>
          <a:p>
            <a:pPr marL="217183" lvl="1" indent="0">
              <a:spcAft>
                <a:spcPts val="600"/>
              </a:spcAft>
              <a:buFont typeface="Arial" panose="020B0604020202020204" pitchFamily="34" charset="0"/>
              <a:buNone/>
            </a:pPr>
            <a:r>
              <a:rPr lang="en-US" sz="1000" kern="0" spc="0">
                <a:solidFill>
                  <a:srgbClr val="FFFFFF"/>
                </a:solidFill>
              </a:rPr>
              <a:t>• Cassandra</a:t>
            </a:r>
          </a:p>
          <a:p>
            <a:pPr marL="217183" lvl="1" indent="0">
              <a:spcAft>
                <a:spcPts val="600"/>
              </a:spcAft>
              <a:buFont typeface="Arial" panose="020B0604020202020204" pitchFamily="34" charset="0"/>
              <a:buNone/>
            </a:pPr>
            <a:r>
              <a:rPr lang="en-US" sz="1000" kern="0" spc="0">
                <a:solidFill>
                  <a:srgbClr val="FFFFFF"/>
                </a:solidFill>
              </a:rPr>
              <a:t>• …</a:t>
            </a:r>
          </a:p>
          <a:p>
            <a:pPr marL="217183" lvl="1" indent="0">
              <a:spcAft>
                <a:spcPts val="600"/>
              </a:spcAft>
              <a:buFont typeface="Arial" panose="020B0604020202020204" pitchFamily="34" charset="0"/>
              <a:buNone/>
            </a:pPr>
            <a:r>
              <a:rPr lang="en-US" sz="1000" kern="0" spc="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a:solidFill>
                  <a:srgbClr val="FFFFFF"/>
                </a:solidFill>
              </a:rPr>
              <a:t>Service Layer: </a:t>
            </a:r>
            <a:r>
              <a:rPr lang="en-US" sz="1000" kern="120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a:solidFill>
                  <a:srgbClr val="FFFFFF"/>
                </a:solidFill>
              </a:rPr>
              <a:t>This layer queries the Batch &amp; Real Time views and merges it. </a:t>
            </a:r>
            <a:r>
              <a:rPr lang="en-US" sz="1000" b="0" kern="0" spc="0" err="1">
                <a:solidFill>
                  <a:srgbClr val="FFFFFF"/>
                </a:solidFill>
              </a:rPr>
              <a:t>PolyBase</a:t>
            </a:r>
            <a:r>
              <a:rPr lang="en-US" sz="1000" b="0" kern="0" spc="0">
                <a:solidFill>
                  <a:srgbClr val="FFFFFF"/>
                </a:solidFill>
              </a:rPr>
              <a:t>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a:solidFill>
                  <a:schemeClr val="tx1"/>
                </a:solidFill>
                <a:effectLst/>
                <a:latin typeface="Segoe UI Light" pitchFamily="34" charset="0"/>
                <a:ea typeface="+mn-ea"/>
                <a:cs typeface="+mn-cs"/>
              </a:rPr>
              <a:t>Key Points</a:t>
            </a:r>
            <a:r>
              <a:rPr lang="en-US" sz="1000" b="1" kern="1200" baseline="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a:t>Lambda Architecture</a:t>
            </a:r>
            <a:r>
              <a:rPr lang="en-US" b="0" baseline="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a:solidFill>
                  <a:srgbClr val="FFFFFF"/>
                </a:solidFill>
              </a:rPr>
              <a:t>The Batch Layer</a:t>
            </a:r>
            <a:r>
              <a:rPr lang="en-US" sz="1000" b="0" kern="0" spc="0" baseline="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ervice Layer-</a:t>
            </a:r>
            <a:r>
              <a:rPr lang="en-US" sz="1000" b="0" kern="120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a:t> </a:t>
            </a:r>
            <a:r>
              <a:rPr lang="en-US" sz="10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a:solidFill>
                  <a:schemeClr val="tx1"/>
                </a:solidFill>
                <a:effectLst/>
                <a:latin typeface="Segoe UI Light" pitchFamily="34" charset="0"/>
                <a:ea typeface="+mn-ea"/>
                <a:cs typeface="+mn-cs"/>
              </a:rPr>
              <a:t>Speaker notes from:</a:t>
            </a:r>
            <a:r>
              <a:rPr lang="en-US" sz="1000" b="0" i="0" kern="1200" baseline="0">
                <a:solidFill>
                  <a:schemeClr val="tx1"/>
                </a:solidFill>
                <a:effectLst/>
                <a:latin typeface="Segoe UI Light" pitchFamily="34" charset="0"/>
                <a:ea typeface="+mn-ea"/>
                <a:cs typeface="+mn-cs"/>
              </a:rPr>
              <a:t> </a:t>
            </a:r>
            <a:r>
              <a:rPr lang="en-US" b="0">
                <a:hlinkClick r:id="rId4"/>
              </a:rPr>
              <a:t>http://sqlug.be/files/sqlug/bd/MicrosoftBigDataSQLUG.pdf</a:t>
            </a:r>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9</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30</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in thing I really want to take away is – when a customer comes to you and says I have real time needs, I want you to think about developer productivity – driven a lot by query language and the promises we have put on top of it.  We provide a wide array of functions for analytics on streaming data – all the way from simple data manipulation functions, data and time functions, temporal functions, mathematical, string, scaling and many more. We also have in private preview UDF for ML scoring and Geospatial functions.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406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a:t>Next thing is the concept of reference data. This is very important because people want to shrink payload down because you are transporting data over network, GPRS etc..  they only send data that is very relevant. Payload might only look like sensor A, temp x. But, you need to know where this sensor maps to – in other words, where this located, which manufacturer did we get it from </a:t>
            </a:r>
            <a:r>
              <a:rPr lang="en-US" err="1"/>
              <a:t>etc</a:t>
            </a:r>
            <a:r>
              <a:rPr lang="en-US"/>
              <a:t> – in case it fails etc., So this is called reference data. This is data at rest. In ASA we let you add reference data. You can treat reference data as another stream to further augment your streaming data. Right now we only support reference data in Blobs. Can refresh these blobs @ 5 min frequency. Working actively on adding SQL. All I need to – instead of 2 streaming inputs – 1 ref data, 1 streams, Use same joins on reference data, AND augment the data before storing it. By the way, this is one of the more used features. You can refresh the blob too.</a:t>
            </a:r>
            <a:endParaRPr lang="en-US" b="1"/>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6/2017 3:09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4417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we spoke to the customers as we were designing and </a:t>
            </a:r>
            <a:r>
              <a:rPr lang="en-US" err="1"/>
              <a:t>definiting</a:t>
            </a:r>
            <a:r>
              <a:rPr lang="en-US"/>
              <a:t> the solution, in almost every case stream analytics was a part of a larger solution that customer was trying to deploy. Whether it is real time Dashboarding for monitoring purposes or whether it was real time monitoring of IT infrastructure equipment. This meant that we needed to be thoughtful about providing out of the box integration with a whole plethora of services that could help build a solution in a relatively quick fashion. </a:t>
            </a:r>
          </a:p>
          <a:p>
            <a:endParaRPr lang="en-US"/>
          </a:p>
          <a:p>
            <a:r>
              <a:rPr lang="en-US"/>
              <a:t>On the ingress side,  with a few clicks you can connect to Event Hub, IOT Hub or Blog storage.</a:t>
            </a:r>
          </a:p>
          <a:p>
            <a:r>
              <a:rPr lang="en-US"/>
              <a:t>I can enrich the streaming data with reference data in in blob store. </a:t>
            </a:r>
          </a:p>
          <a:p>
            <a:r>
              <a:rPr lang="en-US"/>
              <a:t>I can call ML for event scoring in real time. </a:t>
            </a:r>
          </a:p>
          <a:p>
            <a:r>
              <a:rPr lang="en-US"/>
              <a:t>I can egress data to live Dashboarding to PowerBI, OR, could also push data back to EH from where dashboards and reports can pick it up.</a:t>
            </a:r>
          </a:p>
          <a:p>
            <a:r>
              <a:rPr lang="en-US"/>
              <a:t>We have customer who is pushing O/P of stream analytics processing into EH and then have azure website hosted solution into their own custom dashboard</a:t>
            </a:r>
          </a:p>
          <a:p>
            <a:r>
              <a:rPr lang="en-US"/>
              <a:t>I can drive workflows by pushing our events to service bus.  For example, we have a customer opening servicenow tickets – they detect anomaly, push result into SB, and I have a worker role that is calling servicenow API to create tickets. I can do archival for post analysis. Don’t just think about real time alerts. You can also use it to aggregate data, filter data before I store in things like blob storage, ADL, Document DB, SQL and then run USQL ADLA analytics, HDInsights or I can call ML models for things like predictive maintenance.</a:t>
            </a:r>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7946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6/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a:t>Talk Track: </a:t>
            </a:r>
            <a:r>
              <a:rPr lang="en-IN" sz="1200" b="0" i="0" kern="120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a:solidFill>
                <a:schemeClr val="tx1"/>
              </a:solidFill>
              <a:effectLst/>
              <a:latin typeface="Segoe UI Light" pitchFamily="34" charset="0"/>
              <a:ea typeface="+mn-ea"/>
              <a:cs typeface="+mn-cs"/>
            </a:endParaRPr>
          </a:p>
          <a:p>
            <a:r>
              <a:rPr lang="en-IN" sz="1200" b="0" i="0" kern="1200">
                <a:solidFill>
                  <a:schemeClr val="tx1"/>
                </a:solidFill>
                <a:effectLst/>
                <a:latin typeface="Segoe UI Light" pitchFamily="34" charset="0"/>
                <a:ea typeface="+mn-ea"/>
                <a:cs typeface="+mn-cs"/>
              </a:rPr>
              <a:t>Think of technologies like Hadoop and Pig/Hive for use on the Batch layer. Data</a:t>
            </a:r>
            <a:r>
              <a:rPr lang="en-IN" sz="1200" b="0" i="0" kern="1200" baseline="0">
                <a:solidFill>
                  <a:schemeClr val="tx1"/>
                </a:solidFill>
                <a:effectLst/>
                <a:latin typeface="Segoe UI Light" pitchFamily="34" charset="0"/>
                <a:ea typeface="+mn-ea"/>
                <a:cs typeface="+mn-cs"/>
              </a:rPr>
              <a:t> warehouse database technologies can also be associated with the Batch layer.</a:t>
            </a:r>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a:solidFill>
                  <a:srgbClr val="FFFFFF"/>
                </a:solidFill>
              </a:rPr>
              <a:t>The Batch Layer</a:t>
            </a:r>
            <a:r>
              <a:rPr lang="en-US" sz="1200" b="0" kern="0" spc="0" baseline="0">
                <a:solidFill>
                  <a:srgbClr val="FFFFFF"/>
                </a:solidFill>
              </a:rPr>
              <a:t> -Stores Master Dataset and </a:t>
            </a:r>
            <a:r>
              <a:rPr lang="en-IN" sz="1200" b="0" i="0" kern="1200">
                <a:solidFill>
                  <a:schemeClr val="tx1"/>
                </a:solidFill>
                <a:effectLst/>
                <a:latin typeface="Segoe UI Light" pitchFamily="34" charset="0"/>
                <a:ea typeface="+mn-ea"/>
                <a:cs typeface="+mn-cs"/>
              </a:rPr>
              <a:t>precomputes batch views on that master dataset</a:t>
            </a:r>
            <a:endParaRPr lang="en-US" sz="1200" b="0" kern="0" spc="0" baseline="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endParaRPr lang="en-US" b="1"/>
          </a:p>
          <a:p>
            <a:endParaRPr lang="en-US" b="1"/>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an overlap </a:t>
            </a:r>
          </a:p>
          <a:p>
            <a:pPr>
              <a:spcBef>
                <a:spcPts val="1224"/>
              </a:spcBef>
              <a:spcAft>
                <a:spcPts val="612"/>
              </a:spcAft>
            </a:pPr>
            <a:r>
              <a:rPr lang="en-US" sz="900" spc="-71">
                <a:solidFill>
                  <a:schemeClr val="tx2"/>
                </a:solidFill>
                <a:latin typeface="Segoe UI Light" panose="020B0502040204020203" pitchFamily="34" charset="0"/>
              </a:rPr>
              <a:t>Same as tumbling window if hop size = window size</a:t>
            </a:r>
          </a:p>
          <a:p>
            <a:pPr>
              <a:spcAft>
                <a:spcPts val="1224"/>
              </a:spcAft>
            </a:pPr>
            <a:r>
              <a:rPr lang="en-US" sz="900" spc="-71">
                <a:solidFill>
                  <a:schemeClr val="tx2"/>
                </a:solidFill>
                <a:latin typeface="Segoe UI Light" panose="020B0502040204020203" pitchFamily="34" charset="0"/>
              </a:rPr>
              <a:t>Events can belong to more than one hopp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Produces an output </a:t>
            </a:r>
            <a:r>
              <a:rPr lang="en-US" sz="900" i="1" spc="-71">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Every windows will have at least one event</a:t>
            </a:r>
          </a:p>
          <a:p>
            <a:pPr>
              <a:spcAft>
                <a:spcPts val="612"/>
              </a:spcAft>
            </a:pPr>
            <a:endParaRPr lang="en-US" sz="900" spc="-71">
              <a:solidFill>
                <a:schemeClr val="tx2"/>
              </a:solidFill>
              <a:latin typeface="Segoe UI Light" panose="020B0502040204020203" pitchFamily="34" charset="0"/>
            </a:endParaRPr>
          </a:p>
          <a:p>
            <a:pPr>
              <a:spcAft>
                <a:spcPts val="1224"/>
              </a:spcAft>
            </a:pPr>
            <a:r>
              <a:rPr lang="en-US" sz="900" spc="-71">
                <a:solidFill>
                  <a:schemeClr val="tx2"/>
                </a:solidFill>
                <a:latin typeface="Segoe UI Light" panose="020B0502040204020203" pitchFamily="34" charset="0"/>
              </a:rPr>
              <a:t>Events can belong to more than one slid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a:t>
            </a:r>
            <a:r>
              <a:rPr lang="en-US" baseline="0" dirty="0"/>
              <a:t> source</a:t>
            </a:r>
            <a:r>
              <a:rPr lang="en-US" dirty="0"/>
              <a:t>: </a:t>
            </a:r>
          </a:p>
          <a:p>
            <a:r>
              <a:rPr lang="en-US" dirty="0">
                <a:hlinkClick r:id="rId3"/>
              </a:rPr>
              <a:t>http://www.larsgeorge.com/2010/01/hbase-architecture-101-write-ahead-log.html</a:t>
            </a:r>
            <a:r>
              <a:rPr lang="en-US" dirty="0"/>
              <a:t> </a:t>
            </a:r>
          </a:p>
          <a:p>
            <a:endParaRPr lang="en-US" baseline="0" dirty="0"/>
          </a:p>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3234D-6EE1-40D4-82D4-0A5B803D660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209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a:t>Talk Track: </a:t>
            </a:r>
            <a:r>
              <a:rPr lang="en-IN" sz="1200" b="0" i="0" kern="120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err="1">
                <a:solidFill>
                  <a:schemeClr val="tx1"/>
                </a:solidFill>
                <a:effectLst/>
                <a:latin typeface="Segoe UI Light" pitchFamily="34" charset="0"/>
                <a:ea typeface="+mn-ea"/>
                <a:cs typeface="+mn-cs"/>
              </a:rPr>
              <a:t>recomputing</a:t>
            </a:r>
            <a:r>
              <a:rPr lang="en-IN" sz="1200" b="0" i="0" kern="1200">
                <a:solidFill>
                  <a:schemeClr val="tx1"/>
                </a:solidFill>
                <a:effectLst/>
                <a:latin typeface="Segoe UI Light" pitchFamily="34" charset="0"/>
                <a:ea typeface="+mn-ea"/>
                <a:cs typeface="+mn-cs"/>
              </a:rPr>
              <a:t> them like the batch layer does.</a:t>
            </a:r>
          </a:p>
          <a:p>
            <a:r>
              <a:rPr lang="en-IN" sz="1200" b="0" i="0" kern="1200">
                <a:solidFill>
                  <a:schemeClr val="tx1"/>
                </a:solidFill>
                <a:effectLst/>
                <a:latin typeface="Segoe UI Light" pitchFamily="34" charset="0"/>
                <a:ea typeface="+mn-ea"/>
                <a:cs typeface="+mn-cs"/>
              </a:rPr>
              <a:t>The speed layer requires typically</a:t>
            </a:r>
            <a:r>
              <a:rPr lang="en-IN" sz="1200" b="0" i="0" kern="1200" baseline="0">
                <a:solidFill>
                  <a:schemeClr val="tx1"/>
                </a:solidFill>
                <a:effectLst/>
                <a:latin typeface="Segoe UI Light" pitchFamily="34" charset="0"/>
                <a:ea typeface="+mn-ea"/>
                <a:cs typeface="+mn-cs"/>
              </a:rPr>
              <a:t> requires </a:t>
            </a:r>
            <a:r>
              <a:rPr lang="en-IN" sz="1200" b="0" i="0" kern="120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a:t>Most of the application complexity tends to be isolated in the Speed layer. </a:t>
            </a:r>
          </a:p>
          <a:p>
            <a:endParaRPr lang="en-IN" b="0"/>
          </a:p>
          <a:p>
            <a:r>
              <a:rPr lang="en-IN" b="0"/>
              <a:t>Technologies</a:t>
            </a:r>
            <a:r>
              <a:rPr lang="en-IN" b="0" baseline="0"/>
              <a:t> typically considered for the speed layer include in-memory transaction databases and complex event processing engine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tream processing.</a:t>
            </a:r>
          </a:p>
          <a:p>
            <a:pPr marL="171450" indent="-171450">
              <a:buFont typeface="Arial" panose="020B0604020202020204" pitchFamily="34" charset="0"/>
              <a:buChar char="•"/>
            </a:pPr>
            <a:r>
              <a:rPr lang="en-US" b="0"/>
              <a:t>Continuous computation</a:t>
            </a:r>
          </a:p>
          <a:p>
            <a:pPr marL="171450" indent="-171450">
              <a:buFont typeface="Arial" panose="020B0604020202020204" pitchFamily="34" charset="0"/>
              <a:buChar char="•"/>
            </a:pPr>
            <a:r>
              <a:rPr lang="en-US" b="0"/>
              <a:t>Transactional.</a:t>
            </a:r>
          </a:p>
          <a:p>
            <a:pPr marL="171450" indent="-171450">
              <a:buFont typeface="Arial" panose="020B0604020202020204" pitchFamily="34" charset="0"/>
              <a:buChar char="•"/>
            </a:pPr>
            <a:r>
              <a:rPr lang="en-US" b="0"/>
              <a:t>Storing a limited window of data. Compensating for the last few hours of data.</a:t>
            </a:r>
          </a:p>
          <a:p>
            <a:pPr marL="171450" indent="-171450">
              <a:buFont typeface="Arial" panose="020B0604020202020204" pitchFamily="34" charset="0"/>
              <a:buChar char="•"/>
            </a:pPr>
            <a:r>
              <a:rPr lang="en-US" b="0"/>
              <a:t>All the complexity is isolated in the  Speed layer. If anything goes wrong,  it’s auto-corrected. Some algorithms are hard to  implement in real time</a:t>
            </a:r>
          </a:p>
          <a:p>
            <a:endParaRPr lang="en-US" b="1"/>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IN" b="0"/>
          </a:p>
          <a:p>
            <a:endParaRPr lang="en-IN"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a:t>Talk Track: </a:t>
            </a:r>
            <a:r>
              <a:rPr lang="en-IN" sz="1200" b="0" i="0" kern="1200">
                <a:solidFill>
                  <a:schemeClr val="tx1"/>
                </a:solidFill>
                <a:effectLst/>
                <a:latin typeface="Segoe UI Light" pitchFamily="34" charset="0"/>
                <a:ea typeface="+mn-ea"/>
                <a:cs typeface="+mn-cs"/>
              </a:rPr>
              <a:t>Finally,</a:t>
            </a:r>
            <a:r>
              <a:rPr lang="en-IN" sz="1200" b="0" i="0" kern="1200" baseline="0">
                <a:solidFill>
                  <a:schemeClr val="tx1"/>
                </a:solidFill>
                <a:effectLst/>
                <a:latin typeface="Segoe UI Light" pitchFamily="34" charset="0"/>
                <a:ea typeface="+mn-ea"/>
                <a:cs typeface="+mn-cs"/>
              </a:rPr>
              <a:t> the </a:t>
            </a:r>
            <a:r>
              <a:rPr lang="en-IN" sz="1200" b="0" i="0" kern="120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a:solidFill>
                  <a:schemeClr val="tx1"/>
                </a:solidFill>
                <a:effectLst/>
                <a:latin typeface="Segoe UI Light" pitchFamily="34" charset="0"/>
                <a:ea typeface="+mn-ea"/>
                <a:cs typeface="+mn-cs"/>
              </a:rPr>
              <a:t> to be queried</a:t>
            </a:r>
            <a:r>
              <a:rPr lang="en-IN" sz="1200" b="0" i="0" kern="120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a:solidFill>
                  <a:schemeClr val="tx1"/>
                </a:solidFill>
                <a:effectLst/>
                <a:latin typeface="Segoe UI Light" pitchFamily="34" charset="0"/>
                <a:ea typeface="+mn-ea"/>
                <a:cs typeface="+mn-cs"/>
              </a:rPr>
              <a:t> layer job is to </a:t>
            </a:r>
            <a:r>
              <a:rPr lang="en-IN" b="0"/>
              <a:t>queries the Batch &amp; Real Time views and merges it. </a:t>
            </a:r>
          </a:p>
          <a:p>
            <a:endParaRPr lang="en-IN" b="0"/>
          </a:p>
          <a:p>
            <a:r>
              <a:rPr lang="en-IN" b="0"/>
              <a:t>Typically the technologies</a:t>
            </a:r>
            <a:r>
              <a:rPr lang="en-IN" b="0" baseline="0"/>
              <a:t> associated with the serving layer include on-line analytic processing databases like Analysis Services and PowerPivot. It can also be considered as the “last mile” technology for producing usable results for your solution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ervice Layer queries the Batch &amp; Real Time views and merges it</a:t>
            </a:r>
          </a:p>
          <a:p>
            <a:endParaRPr lang="en-US" b="0"/>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US" b="0"/>
          </a:p>
          <a:p>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t>Talk Track: </a:t>
            </a:r>
            <a:r>
              <a:rPr lang="en-US" sz="1000" kern="1200" dirty="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dirty="0">
              <a:solidFill>
                <a:schemeClr val="tx1"/>
              </a:solidFill>
              <a:effectLst/>
              <a:latin typeface="Segoe UI Light" pitchFamily="34" charset="0"/>
              <a:ea typeface="+mn-ea"/>
              <a:cs typeface="+mn-cs"/>
            </a:endParaRPr>
          </a:p>
          <a:p>
            <a:r>
              <a:rPr lang="en-US" sz="1000" b="0" kern="1200" dirty="0">
                <a:solidFill>
                  <a:schemeClr val="tx1"/>
                </a:solidFill>
                <a:effectLst/>
                <a:latin typeface="Segoe UI Light" pitchFamily="34" charset="0"/>
                <a:ea typeface="+mn-ea"/>
                <a:cs typeface="+mn-cs"/>
              </a:rPr>
              <a:t>For the batch layer, Microsoft</a:t>
            </a:r>
            <a:r>
              <a:rPr lang="en-US" sz="1000" b="0" kern="1200" baseline="0" dirty="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dirty="0">
                <a:solidFill>
                  <a:schemeClr val="tx1"/>
                </a:solidFill>
                <a:effectLst/>
                <a:latin typeface="Segoe UI Light" pitchFamily="34" charset="0"/>
                <a:ea typeface="+mn-ea"/>
                <a:cs typeface="+mn-cs"/>
              </a:rPr>
              <a:t>Windows Azure HDInsight</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Azure Blob Storage to hold the input data. The SQL</a:t>
            </a:r>
            <a:r>
              <a:rPr lang="en-US" sz="1000" kern="1200" baseline="0" dirty="0">
                <a:solidFill>
                  <a:schemeClr val="tx1"/>
                </a:solidFill>
                <a:effectLst/>
                <a:latin typeface="Segoe UI Light" pitchFamily="34" charset="0"/>
                <a:ea typeface="+mn-ea"/>
                <a:cs typeface="+mn-cs"/>
              </a:rPr>
              <a:t> Server data warehousing capabilities can also be associated with the batch layer.</a:t>
            </a:r>
            <a:endParaRPr lang="en-US" sz="1000" kern="1200" dirty="0">
              <a:solidFill>
                <a:schemeClr val="tx1"/>
              </a:solidFill>
              <a:effectLst/>
              <a:latin typeface="Segoe UI Light" pitchFamily="34" charset="0"/>
              <a:ea typeface="+mn-ea"/>
              <a:cs typeface="+mn-cs"/>
            </a:endParaRPr>
          </a:p>
          <a:p>
            <a:pPr lvl="0"/>
            <a:r>
              <a:rPr lang="en-US" sz="1000" b="0" kern="1200" dirty="0">
                <a:solidFill>
                  <a:schemeClr val="tx1"/>
                </a:solidFill>
                <a:effectLst/>
                <a:latin typeface="Segoe UI Light" pitchFamily="34" charset="0"/>
                <a:ea typeface="+mn-ea"/>
                <a:cs typeface="+mn-cs"/>
              </a:rPr>
              <a:t>For processing the data and view management, Microsoft</a:t>
            </a:r>
            <a:r>
              <a:rPr lang="en-US" sz="1000" b="0" kern="1200" baseline="0" dirty="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dirty="0" err="1">
                <a:solidFill>
                  <a:schemeClr val="tx1"/>
                </a:solidFill>
                <a:effectLst/>
                <a:latin typeface="Segoe UI Light" pitchFamily="34" charset="0"/>
                <a:ea typeface="+mn-ea"/>
                <a:cs typeface="+mn-cs"/>
              </a:rPr>
              <a:t>Oozie</a:t>
            </a:r>
            <a:r>
              <a:rPr lang="en-US" sz="1000" b="0" kern="1200" baseline="0" dirty="0">
                <a:solidFill>
                  <a:schemeClr val="tx1"/>
                </a:solidFill>
                <a:effectLst/>
                <a:latin typeface="Segoe UI Light" pitchFamily="34" charset="0"/>
                <a:ea typeface="+mn-ea"/>
                <a:cs typeface="+mn-cs"/>
              </a:rPr>
              <a:t>. For data warehousing, you can use traditional SQL views and stored procedures.</a:t>
            </a:r>
            <a:endParaRPr lang="en-US" sz="1000" kern="1200" dirty="0">
              <a:solidFill>
                <a:schemeClr val="tx1"/>
              </a:solidFill>
              <a:effectLst/>
              <a:latin typeface="Segoe UI Light" pitchFamily="34" charset="0"/>
              <a:ea typeface="+mn-ea"/>
              <a:cs typeface="+mn-cs"/>
            </a:endParaRPr>
          </a:p>
          <a:p>
            <a:pPr lvl="0"/>
            <a:endParaRPr lang="en-US" sz="1000" kern="1200" dirty="0">
              <a:solidFill>
                <a:schemeClr val="tx1"/>
              </a:solidFill>
              <a:effectLst/>
              <a:latin typeface="Segoe UI Light" pitchFamily="34" charset="0"/>
              <a:ea typeface="+mn-ea"/>
              <a:cs typeface="+mn-cs"/>
            </a:endParaRPr>
          </a:p>
          <a:p>
            <a:pPr lvl="0"/>
            <a:r>
              <a:rPr lang="en-US" sz="1000" kern="1200" dirty="0">
                <a:solidFill>
                  <a:schemeClr val="tx1"/>
                </a:solidFill>
                <a:effectLst/>
                <a:latin typeface="Segoe UI Light" pitchFamily="34" charset="0"/>
                <a:ea typeface="+mn-ea"/>
                <a:cs typeface="+mn-cs"/>
              </a:rPr>
              <a:t>For the speed layer, M</a:t>
            </a:r>
            <a:r>
              <a:rPr lang="en-US" sz="1000" b="0" kern="1200" dirty="0">
                <a:solidFill>
                  <a:schemeClr val="tx1"/>
                </a:solidFill>
                <a:effectLst/>
                <a:latin typeface="Segoe UI Light" pitchFamily="34" charset="0"/>
                <a:ea typeface="+mn-ea"/>
                <a:cs typeface="+mn-cs"/>
              </a:rPr>
              <a:t>icrosoft supports </a:t>
            </a:r>
            <a:r>
              <a:rPr lang="en-US" sz="1000" kern="1200" dirty="0">
                <a:solidFill>
                  <a:schemeClr val="tx1"/>
                </a:solidFill>
                <a:effectLst/>
                <a:latin typeface="Segoe UI Light" pitchFamily="34" charset="0"/>
                <a:ea typeface="+mn-ea"/>
                <a:cs typeface="+mn-cs"/>
              </a:rPr>
              <a:t>real-time processing</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of data</a:t>
            </a:r>
            <a:r>
              <a:rPr lang="en-US" sz="1000" kern="1200" baseline="0" dirty="0">
                <a:solidFill>
                  <a:schemeClr val="tx1"/>
                </a:solidFill>
                <a:effectLst/>
                <a:latin typeface="Segoe UI Light" pitchFamily="34" charset="0"/>
                <a:ea typeface="+mn-ea"/>
                <a:cs typeface="+mn-cs"/>
              </a:rPr>
              <a:t> through technologies like </a:t>
            </a:r>
            <a:r>
              <a:rPr lang="en-US" sz="2000" dirty="0">
                <a:gradFill>
                  <a:gsLst>
                    <a:gs pos="2917">
                      <a:schemeClr val="tx1"/>
                    </a:gs>
                    <a:gs pos="30000">
                      <a:schemeClr val="tx1"/>
                    </a:gs>
                  </a:gsLst>
                  <a:lin ang="5400000" scaled="0"/>
                </a:gradFill>
              </a:rPr>
              <a:t>Federations in Windows Azure SQL Database,</a:t>
            </a:r>
            <a:r>
              <a:rPr lang="en-US" sz="2000" baseline="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Azure Tables, </a:t>
            </a:r>
            <a:r>
              <a:rPr lang="en-US" sz="2000" dirty="0" err="1">
                <a:gradFill>
                  <a:gsLst>
                    <a:gs pos="2917">
                      <a:schemeClr val="tx1"/>
                    </a:gs>
                    <a:gs pos="30000">
                      <a:schemeClr val="tx1"/>
                    </a:gs>
                  </a:gsLst>
                  <a:lin ang="5400000" scaled="0"/>
                </a:gradFill>
              </a:rPr>
              <a:t>Memcached</a:t>
            </a:r>
            <a:r>
              <a:rPr lang="en-US" sz="2000" dirty="0">
                <a:gradFill>
                  <a:gsLst>
                    <a:gs pos="2917">
                      <a:schemeClr val="tx1"/>
                    </a:gs>
                    <a:gs pos="30000">
                      <a:schemeClr val="tx1"/>
                    </a:gs>
                  </a:gsLst>
                  <a:lin ang="5400000" scaled="0"/>
                </a:gradFill>
              </a:rPr>
              <a:t>/MongoDB, SQL Server database engine and SQL Server VM along with </a:t>
            </a:r>
            <a:r>
              <a:rPr lang="en-US" sz="1600" dirty="0" err="1">
                <a:gradFill>
                  <a:gsLst>
                    <a:gs pos="2917">
                      <a:schemeClr val="tx1"/>
                    </a:gs>
                    <a:gs pos="30000">
                      <a:schemeClr val="tx1"/>
                    </a:gs>
                  </a:gsLst>
                  <a:lin ang="5400000" scaled="0"/>
                </a:gradFill>
              </a:rPr>
              <a:t>Columnstore</a:t>
            </a:r>
            <a:r>
              <a:rPr lang="en-US" sz="1600" dirty="0">
                <a:gradFill>
                  <a:gsLst>
                    <a:gs pos="2917">
                      <a:schemeClr val="tx1"/>
                    </a:gs>
                    <a:gs pos="30000">
                      <a:schemeClr val="tx1"/>
                    </a:gs>
                  </a:gsLst>
                  <a:lin ang="5400000" scaled="0"/>
                </a:gradFill>
              </a:rPr>
              <a:t> Indexes, Analysis Services, </a:t>
            </a:r>
            <a:r>
              <a:rPr lang="en-US" sz="1600" dirty="0" err="1">
                <a:gradFill>
                  <a:gsLst>
                    <a:gs pos="2917">
                      <a:schemeClr val="tx1"/>
                    </a:gs>
                    <a:gs pos="30000">
                      <a:schemeClr val="tx1"/>
                    </a:gs>
                  </a:gsLst>
                  <a:lin ang="5400000" scaled="0"/>
                </a:gradFill>
              </a:rPr>
              <a:t>StreamInsight</a:t>
            </a:r>
            <a:r>
              <a:rPr lang="en-US" sz="1600" dirty="0">
                <a:gradFill>
                  <a:gsLst>
                    <a:gs pos="2917">
                      <a:schemeClr val="tx1"/>
                    </a:gs>
                    <a:gs pos="30000">
                      <a:schemeClr val="tx1"/>
                    </a:gs>
                  </a:gsLst>
                  <a:lin ang="5400000" scaled="0"/>
                </a:gradFill>
              </a:rPr>
              <a:t>. </a:t>
            </a:r>
          </a:p>
          <a:p>
            <a:pPr>
              <a:lnSpc>
                <a:spcPct val="90000"/>
              </a:lnSpc>
              <a:spcAft>
                <a:spcPts val="1200"/>
              </a:spcAft>
            </a:pPr>
            <a:endParaRPr lang="en-US" sz="1600" b="1" kern="1200" dirty="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dirty="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dirty="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dirty="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dirty="0">
                <a:solidFill>
                  <a:schemeClr val="tx1"/>
                </a:solidFill>
                <a:effectLst/>
                <a:latin typeface="Segoe UI Light" pitchFamily="34" charset="0"/>
                <a:ea typeface="+mn-ea"/>
                <a:cs typeface="+mn-cs"/>
              </a:rPr>
              <a:t> you can use </a:t>
            </a:r>
            <a:r>
              <a:rPr lang="en-US" sz="1000" kern="1200" dirty="0">
                <a:solidFill>
                  <a:schemeClr val="tx1"/>
                </a:solidFill>
                <a:effectLst/>
                <a:latin typeface="Segoe UI Light" pitchFamily="34" charset="0"/>
                <a:ea typeface="+mn-ea"/>
                <a:cs typeface="+mn-cs"/>
              </a:rPr>
              <a:t>tools like PowerPivot, Power View, Power Query, Power Map, Reporting Services,</a:t>
            </a:r>
            <a:r>
              <a:rPr lang="en-US" sz="1000" kern="1200" baseline="0" dirty="0">
                <a:solidFill>
                  <a:schemeClr val="tx1"/>
                </a:solidFill>
                <a:effectLst/>
                <a:latin typeface="Segoe UI Light" pitchFamily="34" charset="0"/>
                <a:ea typeface="+mn-ea"/>
                <a:cs typeface="+mn-cs"/>
              </a:rPr>
              <a:t> </a:t>
            </a:r>
            <a:r>
              <a:rPr lang="en-US" sz="1000" dirty="0">
                <a:gradFill>
                  <a:gsLst>
                    <a:gs pos="2917">
                      <a:schemeClr val="tx1"/>
                    </a:gs>
                    <a:gs pos="30000">
                      <a:schemeClr val="tx1"/>
                    </a:gs>
                  </a:gsLst>
                  <a:lin ang="5400000" scaled="0"/>
                </a:gradFill>
              </a:rPr>
              <a:t>LINQ to Hive and Analysis Services technologies.</a:t>
            </a:r>
            <a:r>
              <a:rPr lang="en-US" sz="1000" kern="1200" baseline="0" dirty="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Key Points:</a:t>
            </a:r>
            <a:endParaRPr lang="en-US" sz="1000" b="1" kern="1200" baseline="0" dirty="0">
              <a:solidFill>
                <a:schemeClr val="tx1"/>
              </a:solidFill>
              <a:effectLst/>
              <a:latin typeface="Segoe UI Light" pitchFamily="34" charset="0"/>
              <a:ea typeface="+mn-ea"/>
              <a:cs typeface="+mn-cs"/>
            </a:endParaRPr>
          </a:p>
          <a:p>
            <a:r>
              <a:rPr lang="en-US" sz="1000" b="0" dirty="0"/>
              <a:t>Microsoft</a:t>
            </a:r>
            <a:r>
              <a:rPr lang="en-US" sz="1000" b="0" baseline="0" dirty="0"/>
              <a:t> provides a complete BI solution, which can be entirely aligned with all the three layers of the Lambda Architecture. </a:t>
            </a:r>
            <a:endParaRPr lang="en-US" sz="1000" b="0" dirty="0"/>
          </a:p>
          <a:p>
            <a:endParaRPr lang="en-US" sz="1000"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dirty="0"/>
              <a:t>References: </a:t>
            </a:r>
            <a:r>
              <a:rPr lang="en-US" sz="1000" b="0" i="0" kern="1200" dirty="0">
                <a:solidFill>
                  <a:schemeClr val="tx1"/>
                </a:solidFill>
                <a:effectLst/>
                <a:latin typeface="Segoe UI Light" pitchFamily="34" charset="0"/>
                <a:ea typeface="+mn-ea"/>
                <a:cs typeface="+mn-cs"/>
              </a:rPr>
              <a:t>Big Data Lambda Architecture: </a:t>
            </a:r>
            <a:r>
              <a:rPr lang="en-US" sz="1000" b="0" dirty="0">
                <a:hlinkClick r:id="rId3"/>
              </a:rPr>
              <a:t> http://www.databasetube.com/database/big-data-lambda-architecture/</a:t>
            </a:r>
            <a:endParaRPr lang="en-US" sz="1000" b="0" dirty="0"/>
          </a:p>
          <a:p>
            <a:endParaRPr lang="en-US" sz="1000" b="0" dirty="0"/>
          </a:p>
          <a:p>
            <a:pPr>
              <a:lnSpc>
                <a:spcPct val="90000"/>
              </a:lnSpc>
              <a:spcAft>
                <a:spcPts val="1200"/>
              </a:spcAft>
            </a:pPr>
            <a:endParaRPr lang="en-US" sz="1000" kern="1200" dirty="0">
              <a:solidFill>
                <a:schemeClr val="tx1"/>
              </a:solidFill>
              <a:effectLst/>
              <a:latin typeface="Segoe UI Light" pitchFamily="34" charset="0"/>
              <a:ea typeface="+mn-ea"/>
              <a:cs typeface="+mn-cs"/>
            </a:endParaRPr>
          </a:p>
          <a:p>
            <a:pPr>
              <a:lnSpc>
                <a:spcPct val="90000"/>
              </a:lnSpc>
              <a:spcAft>
                <a:spcPts val="1200"/>
              </a:spcAft>
            </a:pPr>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12/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66624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08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E9A9-04F4-48DF-965B-CDE3851E1A17}"/>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3C47F-7AC9-4028-B6CD-B9175DB0D09D}"/>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FB4CC5-4799-42FB-AAF6-3608CA171665}"/>
              </a:ext>
            </a:extLst>
          </p:cNvPr>
          <p:cNvSpPr>
            <a:spLocks noGrp="1"/>
          </p:cNvSpPr>
          <p:nvPr>
            <p:ph type="dt" sz="half" idx="10"/>
          </p:nvPr>
        </p:nvSpPr>
        <p:spPr/>
        <p:txBody>
          <a:bodyPr/>
          <a:lstStyle/>
          <a:p>
            <a:pPr defTabSz="914367">
              <a:defRPr/>
            </a:pPr>
            <a:fld id="{16941A5A-787B-490D-949B-FC3D829C5872}" type="datetimeFigureOut">
              <a:rPr lang="en-US" sz="1765" smtClean="0">
                <a:solidFill>
                  <a:srgbClr val="353535"/>
                </a:solidFill>
                <a:latin typeface="Segoe UI Semilight"/>
              </a:rPr>
              <a:pPr defTabSz="914367">
                <a:defRPr/>
              </a:pPr>
              <a:t>12/6/2017</a:t>
            </a:fld>
            <a:endParaRPr lang="en-US" sz="1765">
              <a:solidFill>
                <a:srgbClr val="353535"/>
              </a:solidFill>
              <a:latin typeface="Segoe UI Semilight"/>
            </a:endParaRPr>
          </a:p>
        </p:txBody>
      </p:sp>
      <p:sp>
        <p:nvSpPr>
          <p:cNvPr id="5" name="Footer Placeholder 4">
            <a:extLst>
              <a:ext uri="{FF2B5EF4-FFF2-40B4-BE49-F238E27FC236}">
                <a16:creationId xmlns:a16="http://schemas.microsoft.com/office/drawing/2014/main" id="{96E4B3FF-9411-4026-A483-20859FD021FC}"/>
              </a:ext>
            </a:extLst>
          </p:cNvPr>
          <p:cNvSpPr>
            <a:spLocks noGrp="1"/>
          </p:cNvSpPr>
          <p:nvPr>
            <p:ph type="ftr" sz="quarter" idx="11"/>
          </p:nvPr>
        </p:nvSpPr>
        <p:spPr/>
        <p:txBody>
          <a:bodyPr/>
          <a:lstStyle/>
          <a:p>
            <a:pPr defTabSz="914367">
              <a:defRPr/>
            </a:pPr>
            <a:endParaRPr lang="en-US" sz="1765">
              <a:solidFill>
                <a:srgbClr val="353535"/>
              </a:solidFill>
              <a:latin typeface="Segoe UI Semilight"/>
            </a:endParaRPr>
          </a:p>
        </p:txBody>
      </p:sp>
      <p:sp>
        <p:nvSpPr>
          <p:cNvPr id="6" name="Slide Number Placeholder 5">
            <a:extLst>
              <a:ext uri="{FF2B5EF4-FFF2-40B4-BE49-F238E27FC236}">
                <a16:creationId xmlns:a16="http://schemas.microsoft.com/office/drawing/2014/main" id="{5E3FBB1C-4111-46E5-97C9-158B962F893B}"/>
              </a:ext>
            </a:extLst>
          </p:cNvPr>
          <p:cNvSpPr>
            <a:spLocks noGrp="1"/>
          </p:cNvSpPr>
          <p:nvPr>
            <p:ph type="sldNum" sz="quarter" idx="12"/>
          </p:nvPr>
        </p:nvSpPr>
        <p:spPr/>
        <p:txBody>
          <a:bodyPr/>
          <a:lstStyle/>
          <a:p>
            <a:pPr defTabSz="914367">
              <a:defRPr/>
            </a:pPr>
            <a:fld id="{0F9D3995-D993-4A9E-AD8D-46D5FFC9B67B}" type="slidenum">
              <a:rPr lang="en-US" sz="1765" smtClean="0">
                <a:solidFill>
                  <a:srgbClr val="353535"/>
                </a:solidFill>
                <a:latin typeface="Segoe UI Semilight"/>
              </a:rPr>
              <a:pPr defTabSz="914367">
                <a:defRPr/>
              </a:pPr>
              <a:t>‹#›</a:t>
            </a:fld>
            <a:endParaRPr lang="en-US" sz="1765">
              <a:solidFill>
                <a:srgbClr val="353535"/>
              </a:solidFill>
              <a:latin typeface="Segoe UI Semilight"/>
            </a:endParaRPr>
          </a:p>
        </p:txBody>
      </p:sp>
    </p:spTree>
    <p:extLst>
      <p:ext uri="{BB962C8B-B14F-4D97-AF65-F5344CB8AC3E}">
        <p14:creationId xmlns:p14="http://schemas.microsoft.com/office/powerpoint/2010/main" val="2668495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print">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078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40229569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2274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263175301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835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7101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3231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958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093274"/>
            <a:ext cx="9859116"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Video title</a:t>
            </a:r>
          </a:p>
        </p:txBody>
      </p:sp>
      <p:pic>
        <p:nvPicPr>
          <p:cNvPr id="5" name="Picture 4"/>
          <p:cNvPicPr>
            <a:picLocks noChangeAspect="1"/>
          </p:cNvPicPr>
          <p:nvPr userDrawn="1"/>
        </p:nvPicPr>
        <p:blipFill>
          <a:blip r:embed="rId2">
            <a:alphaModFix amt="25000"/>
          </a:blip>
          <a:stretch>
            <a:fillRect/>
          </a:stretch>
        </p:blipFill>
        <p:spPr>
          <a:xfrm>
            <a:off x="10129913" y="1725569"/>
            <a:ext cx="1293759" cy="2689656"/>
          </a:xfrm>
          <a:prstGeom prst="rect">
            <a:avLst/>
          </a:prstGeom>
        </p:spPr>
      </p:pic>
    </p:spTree>
    <p:extLst>
      <p:ext uri="{BB962C8B-B14F-4D97-AF65-F5344CB8AC3E}">
        <p14:creationId xmlns:p14="http://schemas.microsoft.com/office/powerpoint/2010/main" val="3568559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616196"/>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66980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144"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24932232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4"/>
            <a:ext cx="8964248" cy="2713115"/>
          </a:xfrm>
        </p:spPr>
        <p:txBody>
          <a:bodyPr/>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7388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endParaRPr>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2"/>
            <a:ext cx="11653523" cy="2570822"/>
          </a:xfrm>
        </p:spPr>
        <p:txBody>
          <a:bodyPr lIns="146304" tIns="91440" rIns="146304" bIns="91440"/>
          <a:lstStyle>
            <a:lvl1pPr marL="0" indent="0">
              <a:lnSpc>
                <a:spcPct val="90000"/>
              </a:lnSpc>
              <a:buFontTx/>
              <a:buNone/>
              <a:defRPr sz="8626" b="0">
                <a:solidFill>
                  <a:schemeClr val="bg1"/>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Tree>
    <p:extLst>
      <p:ext uri="{BB962C8B-B14F-4D97-AF65-F5344CB8AC3E}">
        <p14:creationId xmlns:p14="http://schemas.microsoft.com/office/powerpoint/2010/main" val="219692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622148"/>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2297153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93546924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2232548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45861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65764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078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8191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15195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9948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2268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48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08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1493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5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1068"/>
            <a:ext cx="4322760" cy="6275864"/>
          </a:xfrm>
          <a:prstGeom prst="rect">
            <a:avLst/>
          </a:prstGeom>
        </p:spPr>
      </p:pic>
    </p:spTree>
    <p:extLst>
      <p:ext uri="{BB962C8B-B14F-4D97-AF65-F5344CB8AC3E}">
        <p14:creationId xmlns:p14="http://schemas.microsoft.com/office/powerpoint/2010/main" val="1020197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878876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4841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655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571598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2544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98755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349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976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87650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882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6336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2979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74790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01" tIns="45700" rIns="91401" bIns="45700" numCol="1" anchor="t" anchorCtr="0" compatLnSpc="1">
            <a:prstTxWarp prst="textNoShape">
              <a:avLst/>
            </a:prstTxWarp>
          </a:bodyPr>
          <a:lstStyle/>
          <a:p>
            <a:pPr marR="0" lvl="0" indent="0" defTabSz="932205"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7"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01" tIns="45700" rIns="91401" bIns="45700" numCol="1" anchor="t" anchorCtr="0" compatLnSpc="1">
            <a:prstTxWarp prst="textNoShape">
              <a:avLst/>
            </a:prstTxWarp>
          </a:bodyPr>
          <a:lstStyle/>
          <a:p>
            <a:pPr marL="0" marR="0" lvl="0" indent="0" defTabSz="932205"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3"/>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5"/>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9" y="6302646"/>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2"/>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3" y="6600372"/>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8"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14" tIns="45706" rIns="91414" bIns="45706" numCol="1" anchor="t" anchorCtr="0" compatLnSpc="1">
            <a:prstTxWarp prst="textNoShape">
              <a:avLst/>
            </a:prstTxWarp>
          </a:bodyPr>
          <a:lstStyle/>
          <a:p>
            <a:pPr marL="0" marR="0" lvl="0" indent="0"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31"/>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9"/>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2" y="6491045"/>
            <a:ext cx="936609" cy="206372"/>
          </a:xfrm>
          <a:prstGeom prst="rect">
            <a:avLst/>
          </a:prstGeom>
        </p:spPr>
      </p:pic>
    </p:spTree>
    <p:extLst>
      <p:ext uri="{BB962C8B-B14F-4D97-AF65-F5344CB8AC3E}">
        <p14:creationId xmlns:p14="http://schemas.microsoft.com/office/powerpoint/2010/main" val="47957551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9568"/>
          <a:stretch/>
        </p:blipFill>
        <p:spPr>
          <a:xfrm>
            <a:off x="0" y="5464848"/>
            <a:ext cx="12192000" cy="1403312"/>
          </a:xfrm>
          <a:prstGeom prst="rect">
            <a:avLst/>
          </a:prstGeom>
        </p:spPr>
      </p:pic>
      <p:sp>
        <p:nvSpPr>
          <p:cNvPr id="20" name="Title 1"/>
          <p:cNvSpPr>
            <a:spLocks noGrp="1"/>
          </p:cNvSpPr>
          <p:nvPr>
            <p:ph type="ctrTitle" hasCustomPrompt="1"/>
          </p:nvPr>
        </p:nvSpPr>
        <p:spPr>
          <a:xfrm>
            <a:off x="5029149" y="1262332"/>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a:t>Session Title</a:t>
            </a:r>
            <a:endParaRPr lang="en-US"/>
          </a:p>
        </p:txBody>
      </p:sp>
      <p:sp>
        <p:nvSpPr>
          <p:cNvPr id="21" name="Subtitle 2"/>
          <p:cNvSpPr>
            <a:spLocks noGrp="1"/>
          </p:cNvSpPr>
          <p:nvPr>
            <p:ph type="subTitle" idx="1" hasCustomPrompt="1"/>
          </p:nvPr>
        </p:nvSpPr>
        <p:spPr>
          <a:xfrm>
            <a:off x="5028106" y="2532448"/>
            <a:ext cx="6834670"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a:t>Subtitle</a:t>
            </a:r>
            <a:endParaRPr lang="en-US"/>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72937" y="6152124"/>
            <a:ext cx="1366579" cy="292782"/>
          </a:xfrm>
          <a:prstGeom prst="rect">
            <a:avLst/>
          </a:prstGeom>
        </p:spPr>
      </p:pic>
      <p:sp>
        <p:nvSpPr>
          <p:cNvPr id="4" name="Text Placeholder 3"/>
          <p:cNvSpPr>
            <a:spLocks noGrp="1"/>
          </p:cNvSpPr>
          <p:nvPr>
            <p:ph type="body" sz="quarter" idx="10" hasCustomPrompt="1"/>
          </p:nvPr>
        </p:nvSpPr>
        <p:spPr>
          <a:xfrm>
            <a:off x="5029148" y="3465331"/>
            <a:ext cx="6833627" cy="727700"/>
          </a:xfrm>
        </p:spPr>
        <p:txBody>
          <a:bodyPr/>
          <a:lstStyle>
            <a:lvl1pPr>
              <a:defRPr/>
            </a:lvl1pPr>
          </a:lstStyle>
          <a:p>
            <a:pPr lvl="0"/>
            <a:r>
              <a:rPr lang="en-US"/>
              <a:t>Speaker Name</a:t>
            </a:r>
          </a:p>
        </p:txBody>
      </p:sp>
    </p:spTree>
    <p:extLst>
      <p:ext uri="{BB962C8B-B14F-4D97-AF65-F5344CB8AC3E}">
        <p14:creationId xmlns:p14="http://schemas.microsoft.com/office/powerpoint/2010/main" val="571998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3" y="6673686"/>
            <a:ext cx="660458" cy="194684"/>
          </a:xfrm>
          <a:prstGeom prst="rect">
            <a:avLst/>
          </a:prstGeom>
        </p:spPr>
        <p:txBody>
          <a:bodyPr vert="horz" lIns="91440" tIns="0" rIns="91440" bIns="45720" rtlCol="0" anchor="ctr"/>
          <a:lstStyle>
            <a:lvl1pPr algn="l">
              <a:defRPr sz="1067" b="0">
                <a:solidFill>
                  <a:schemeClr val="bg1"/>
                </a:solidFill>
              </a:defRPr>
            </a:lvl1pPr>
          </a:lstStyle>
          <a:p>
            <a:pPr defTabSz="1218996"/>
            <a:fld id="{D372AB51-BDCC-4F95-83CF-1CBB2D34E9E5}" type="slidenum">
              <a:rPr lang="en-US" smtClean="0">
                <a:solidFill>
                  <a:prstClr val="white"/>
                </a:solidFill>
              </a:rPr>
              <a:pPr defTabSz="1218996"/>
              <a:t>‹#›</a:t>
            </a:fld>
            <a:endParaRPr lang="en-US">
              <a:solidFill>
                <a:prstClr val="white"/>
              </a:solidFill>
            </a:endParaRPr>
          </a:p>
        </p:txBody>
      </p:sp>
      <p:sp>
        <p:nvSpPr>
          <p:cNvPr id="8" name="Text Placeholder 2"/>
          <p:cNvSpPr>
            <a:spLocks noGrp="1"/>
          </p:cNvSpPr>
          <p:nvPr>
            <p:ph idx="1" hasCustomPrompt="1"/>
          </p:nvPr>
        </p:nvSpPr>
        <p:spPr>
          <a:xfrm>
            <a:off x="579512" y="1816517"/>
            <a:ext cx="10972800" cy="4201282"/>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24" indent="-457124">
              <a:buClr>
                <a:schemeClr val="accent4"/>
              </a:buClr>
              <a:buFont typeface="Arial"/>
              <a:buChar char="•"/>
              <a:defRPr>
                <a:solidFill>
                  <a:schemeClr val="tx1">
                    <a:lumMod val="75000"/>
                    <a:lumOff val="25000"/>
                  </a:schemeClr>
                </a:solidFill>
                <a:latin typeface="+mn-lt"/>
              </a:defRPr>
            </a:lvl2pPr>
            <a:lvl3pPr marL="850757" indent="-457124">
              <a:buClr>
                <a:schemeClr val="accent4"/>
              </a:buClr>
              <a:buFont typeface="Arial"/>
              <a:buChar char="•"/>
              <a:defRPr sz="2400" b="0">
                <a:solidFill>
                  <a:srgbClr val="0084CC"/>
                </a:solidFill>
                <a:latin typeface="+mn-lt"/>
              </a:defRPr>
            </a:lvl3pPr>
            <a:lvl4pPr marL="1229578" indent="-457124">
              <a:buClr>
                <a:schemeClr val="accent4"/>
              </a:buClr>
              <a:buFont typeface="Arial"/>
              <a:buChar char="•"/>
              <a:defRPr>
                <a:solidFill>
                  <a:schemeClr val="tx1">
                    <a:lumMod val="75000"/>
                    <a:lumOff val="25000"/>
                  </a:schemeClr>
                </a:solidFill>
                <a:latin typeface="+mn-lt"/>
              </a:defRPr>
            </a:lvl4pPr>
            <a:lvl5pPr marL="1585119" indent="-457124">
              <a:buClr>
                <a:schemeClr val="accent4"/>
              </a:buClr>
              <a:buFont typeface="Arial"/>
              <a:buChar char="•"/>
              <a:defRPr>
                <a:solidFill>
                  <a:schemeClr val="tx1">
                    <a:lumMod val="75000"/>
                    <a:lumOff val="25000"/>
                  </a:schemeClr>
                </a:solidFill>
                <a:latin typeface="+mn-lt"/>
              </a:defRPr>
            </a:lvl5pPr>
          </a:lstStyle>
          <a:p>
            <a:pPr marL="393634" lvl="2" indent="-393634">
              <a:buNone/>
            </a:pPr>
            <a:r>
              <a:rPr lang="en-US" sz="3200">
                <a:solidFill>
                  <a:schemeClr val="accent4"/>
                </a:solidFill>
              </a:rPr>
              <a:t>Heading One Style </a:t>
            </a:r>
          </a:p>
          <a:p>
            <a:pPr marL="393634" lvl="2" indent="-393634">
              <a:buNone/>
            </a:pPr>
            <a:r>
              <a:rPr lang="en-US">
                <a:solidFill>
                  <a:schemeClr val="tx1">
                    <a:lumMod val="65000"/>
                    <a:lumOff val="35000"/>
                  </a:schemeClr>
                </a:solidFill>
              </a:rPr>
              <a:t>Body content, 18pt Segoe UI (gray)</a:t>
            </a:r>
          </a:p>
          <a:p>
            <a:pPr marL="393634" lvl="2" indent="-393634">
              <a:buNone/>
            </a:pPr>
            <a:endParaRPr lang="en-US">
              <a:solidFill>
                <a:schemeClr val="tx1">
                  <a:lumMod val="65000"/>
                  <a:lumOff val="35000"/>
                </a:schemeClr>
              </a:solidFill>
            </a:endParaRPr>
          </a:p>
          <a:p>
            <a:pPr marL="393634" lvl="2" indent="-393634">
              <a:buNone/>
            </a:pPr>
            <a:r>
              <a:rPr lang="en-US" sz="2666">
                <a:solidFill>
                  <a:schemeClr val="accent6"/>
                </a:solidFill>
              </a:rPr>
              <a:t>Heading Two Style</a:t>
            </a:r>
          </a:p>
          <a:p>
            <a:pPr marL="393634" lvl="2" indent="-393634">
              <a:buNone/>
            </a:pPr>
            <a:r>
              <a:rPr lang="en-US">
                <a:solidFill>
                  <a:schemeClr val="tx1">
                    <a:lumMod val="65000"/>
                    <a:lumOff val="35000"/>
                  </a:schemeClr>
                </a:solidFill>
              </a:rPr>
              <a:t>Body content, 18pt Segoe UI (gray)</a:t>
            </a:r>
          </a:p>
          <a:p>
            <a:pPr marL="393634" lvl="2" indent="-393634">
              <a:buNone/>
            </a:pPr>
            <a:endParaRPr lang="en-US" sz="2666">
              <a:solidFill>
                <a:schemeClr val="accent3"/>
              </a:solidFill>
            </a:endParaRPr>
          </a:p>
          <a:p>
            <a:pPr marL="393634" lvl="2" indent="-393634">
              <a:buNone/>
            </a:pPr>
            <a:r>
              <a:rPr lang="en-US" b="1">
                <a:solidFill>
                  <a:schemeClr val="accent1"/>
                </a:solidFill>
              </a:rPr>
              <a:t>HEADING THREE STYLE</a:t>
            </a:r>
          </a:p>
          <a:p>
            <a:pPr marL="393634" lvl="2" indent="-393634">
              <a:buNone/>
            </a:pPr>
            <a:r>
              <a:rPr lang="en-US">
                <a:solidFill>
                  <a:schemeClr val="tx1">
                    <a:lumMod val="65000"/>
                    <a:lumOff val="35000"/>
                  </a:schemeClr>
                </a:solidFill>
              </a:rPr>
              <a:t>Body content, 18pt Segoe UI (gray)</a:t>
            </a:r>
          </a:p>
          <a:p>
            <a:pPr marL="0" indent="0">
              <a:buNone/>
            </a:pPr>
            <a:endParaRPr lang="en-US"/>
          </a:p>
        </p:txBody>
      </p:sp>
      <p:sp>
        <p:nvSpPr>
          <p:cNvPr id="3" name="Title 2"/>
          <p:cNvSpPr>
            <a:spLocks noGrp="1"/>
          </p:cNvSpPr>
          <p:nvPr>
            <p:ph type="title"/>
          </p:nvPr>
        </p:nvSpPr>
        <p:spPr/>
        <p:txBody>
          <a:bodyPr/>
          <a:lstStyle/>
          <a:p>
            <a:r>
              <a:rPr lang="en-US"/>
              <a:t>Click to edit Master title style</a:t>
            </a:r>
          </a:p>
        </p:txBody>
      </p:sp>
      <p:pic>
        <p:nvPicPr>
          <p:cNvPr id="7" name="Content Placeholder 3"/>
          <p:cNvPicPr>
            <a:picLocks noChangeAspect="1"/>
          </p:cNvPicPr>
          <p:nvPr userDrawn="1"/>
        </p:nvPicPr>
        <p:blipFill rotWithShape="1">
          <a:blip r:embed="rId2">
            <a:extLst>
              <a:ext uri="{28A0092B-C50C-407E-A947-70E740481C1C}">
                <a14:useLocalDpi xmlns:a14="http://schemas.microsoft.com/office/drawing/2010/main" val="0"/>
              </a:ext>
            </a:extLst>
          </a:blip>
          <a:srcRect t="81520" b="16463"/>
          <a:stretch/>
        </p:blipFill>
        <p:spPr>
          <a:xfrm flipV="1">
            <a:off x="-1" y="6527029"/>
            <a:ext cx="12192001" cy="13854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1171151" y="6504749"/>
            <a:ext cx="843665" cy="180751"/>
          </a:xfrm>
          <a:prstGeom prst="rect">
            <a:avLst/>
          </a:prstGeom>
        </p:spPr>
      </p:pic>
    </p:spTree>
    <p:extLst>
      <p:ext uri="{BB962C8B-B14F-4D97-AF65-F5344CB8AC3E}">
        <p14:creationId xmlns:p14="http://schemas.microsoft.com/office/powerpoint/2010/main" val="9161698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42584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396367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2.13345E-6 L 1.62369E-6 2.13345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950"/>
                                        <p:tgtEl>
                                          <p:spTgt spid="15"/>
                                        </p:tgtEl>
                                      </p:cBhvr>
                                    </p:animEffect>
                                  </p:childTnLst>
                                </p:cTn>
                              </p:par>
                              <p:par>
                                <p:cTn id="44" presetID="63" presetClass="path" presetSubtype="0" decel="100000" fill="hold" grpId="1" nodeType="withEffect">
                                  <p:stCondLst>
                                    <p:cond delay="700"/>
                                  </p:stCondLst>
                                  <p:childTnLst>
                                    <p:animMotion origin="layout" path="M -0.01455 -2.09714E-6 L -4.54174E-6 -2.09714E-6 " pathEditMode="relative" rAng="0" ptsTypes="AA">
                                      <p:cBhvr>
                                        <p:cTn id="45" dur="950" fill="hold"/>
                                        <p:tgtEl>
                                          <p:spTgt spid="15"/>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7771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C3139C-FFD6-4983-8D5F-035A43A5ACBC}" type="datetimeFigureOut">
              <a:rPr lang="en-US" smtClean="0"/>
              <a:t>12/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B20DB7A-1AAA-493A-BDD0-74512D29E1F7}" type="slidenum">
              <a:rPr lang="en-US" smtClean="0"/>
              <a:t>‹#›</a:t>
            </a:fld>
            <a:endParaRPr lang="en-US"/>
          </a:p>
        </p:txBody>
      </p:sp>
    </p:spTree>
    <p:extLst>
      <p:ext uri="{BB962C8B-B14F-4D97-AF65-F5344CB8AC3E}">
        <p14:creationId xmlns:p14="http://schemas.microsoft.com/office/powerpoint/2010/main" val="16797407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28600"/>
            <a:ext cx="11582401" cy="863600"/>
          </a:xfrm>
        </p:spPr>
        <p:txBody>
          <a:bodyPr anchor="t" anchorCtr="0">
            <a:noAutofit/>
          </a:bodyPr>
          <a:lstStyle>
            <a:lvl1pPr>
              <a:defRPr sz="5331"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15817442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63591"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p>
        </p:txBody>
      </p:sp>
      <p:sp>
        <p:nvSpPr>
          <p:cNvPr id="6" name="Slide Number Placeholder 5"/>
          <p:cNvSpPr>
            <a:spLocks noGrp="1"/>
          </p:cNvSpPr>
          <p:nvPr>
            <p:ph type="sldNum" sz="quarter" idx="12"/>
          </p:nvPr>
        </p:nvSpPr>
        <p:spPr>
          <a:xfrm>
            <a:off x="11366667" y="6437243"/>
            <a:ext cx="555783"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a:t>Click to edit Master text</a:t>
            </a:r>
          </a:p>
        </p:txBody>
      </p:sp>
      <p:sp>
        <p:nvSpPr>
          <p:cNvPr id="5" name="Rectangle 4"/>
          <p:cNvSpPr/>
          <p:nvPr userDrawn="1"/>
        </p:nvSpPr>
        <p:spPr bwMode="auto">
          <a:xfrm>
            <a:off x="0" y="6728605"/>
            <a:ext cx="12190444" cy="140138"/>
          </a:xfrm>
          <a:prstGeom prst="rect">
            <a:avLst/>
          </a:prstGeom>
          <a:solidFill>
            <a:srgbClr val="0072C6"/>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a:ln>
                <a:noFill/>
              </a:ln>
              <a:gradFill>
                <a:gsLst>
                  <a:gs pos="0">
                    <a:srgbClr val="FFFFFF"/>
                  </a:gs>
                  <a:gs pos="100000">
                    <a:srgbClr val="FFFFFF"/>
                  </a:gs>
                </a:gsLst>
                <a:lin ang="5400000" scaled="0"/>
              </a:gradFill>
              <a:effectLst/>
              <a:uLnTx/>
              <a:uFillTx/>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441496" y="6434665"/>
            <a:ext cx="935823" cy="239431"/>
          </a:xfrm>
          <a:prstGeom prst="rect">
            <a:avLst/>
          </a:prstGeom>
        </p:spPr>
      </p:pic>
    </p:spTree>
    <p:extLst>
      <p:ext uri="{BB962C8B-B14F-4D97-AF65-F5344CB8AC3E}">
        <p14:creationId xmlns:p14="http://schemas.microsoft.com/office/powerpoint/2010/main" val="672788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27008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1" y="-312"/>
            <a:ext cx="12206629" cy="6858623"/>
          </a:xfrm>
          <a:prstGeom prst="rect">
            <a:avLst/>
          </a:prstGeom>
        </p:spPr>
      </p:pic>
    </p:spTree>
    <p:extLst>
      <p:ext uri="{BB962C8B-B14F-4D97-AF65-F5344CB8AC3E}">
        <p14:creationId xmlns:p14="http://schemas.microsoft.com/office/powerpoint/2010/main" val="566480585"/>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185881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2464937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2" y="6434664"/>
            <a:ext cx="935823" cy="239431"/>
          </a:xfrm>
          <a:prstGeom prst="rect">
            <a:avLst/>
          </a:prstGeom>
        </p:spPr>
      </p:pic>
    </p:spTree>
    <p:extLst>
      <p:ext uri="{BB962C8B-B14F-4D97-AF65-F5344CB8AC3E}">
        <p14:creationId xmlns:p14="http://schemas.microsoft.com/office/powerpoint/2010/main" val="2013524975"/>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816997089"/>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4"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0"/>
            <a:ext cx="12213788" cy="6858623"/>
          </a:xfrm>
          <a:prstGeom prst="rect">
            <a:avLst/>
          </a:prstGeom>
        </p:spPr>
      </p:pic>
    </p:spTree>
    <p:extLst>
      <p:ext uri="{BB962C8B-B14F-4D97-AF65-F5344CB8AC3E}">
        <p14:creationId xmlns:p14="http://schemas.microsoft.com/office/powerpoint/2010/main" val="3132663305"/>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9988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308401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1850820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30450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504094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3.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8" Type="http://schemas.openxmlformats.org/officeDocument/2006/relationships/slideLayout" Target="../slideLayouts/slideLayout58.xml"/><Relationship Id="rId3"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5.xml"/><Relationship Id="rId18" Type="http://schemas.openxmlformats.org/officeDocument/2006/relationships/image" Target="../media/image32.pn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31.emf"/><Relationship Id="rId2" Type="http://schemas.openxmlformats.org/officeDocument/2006/relationships/slideLayout" Target="../slideLayouts/slideLayout88.xml"/><Relationship Id="rId16" Type="http://schemas.openxmlformats.org/officeDocument/2006/relationships/oleObject" Target="../embeddings/oleObject1.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ags" Target="../tags/tag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5" r:id="rId10"/>
    <p:sldLayoutId id="2147483676" r:id="rId11"/>
    <p:sldLayoutId id="2147483704"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a:p>
        </p:txBody>
      </p:sp>
    </p:spTree>
    <p:extLst>
      <p:ext uri="{BB962C8B-B14F-4D97-AF65-F5344CB8AC3E}">
        <p14:creationId xmlns:p14="http://schemas.microsoft.com/office/powerpoint/2010/main" val="8348870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Lst>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120 B:21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92 G:45 B:14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32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363363993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16" imgW="377" imgH="377" progId="TCLayout.ActiveDocument.1">
                  <p:embed/>
                </p:oleObj>
              </mc:Choice>
              <mc:Fallback>
                <p:oleObj name="think-cell Slide" r:id="rId16" imgW="377" imgH="377" progId="TCLayout.ActiveDocument.1">
                  <p:embed/>
                  <p:pic>
                    <p:nvPicPr>
                      <p:cNvPr id="4" name="Object 3" hidden="1"/>
                      <p:cNvPicPr/>
                      <p:nvPr/>
                    </p:nvPicPr>
                    <p:blipFill>
                      <a:blip r:embed="rId1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79577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hyperlink" Target="http://kafka.apache.org/"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77.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6.xml"/><Relationship Id="rId1" Type="http://schemas.openxmlformats.org/officeDocument/2006/relationships/vmlDrawing" Target="../drawings/vmlDrawing3.vml"/><Relationship Id="rId6" Type="http://schemas.openxmlformats.org/officeDocument/2006/relationships/image" Target="../media/image79.png"/><Relationship Id="rId5" Type="http://schemas.openxmlformats.org/officeDocument/2006/relationships/image" Target="../media/image3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91.xml"/><Relationship Id="rId5" Type="http://schemas.openxmlformats.org/officeDocument/2006/relationships/image" Target="../media/image81.png"/><Relationship Id="rId4" Type="http://schemas.microsoft.com/office/2007/relationships/hdphoto" Target="../media/hdphoto3.wdp"/></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microsoft.com/office/2007/relationships/hdphoto" Target="../media/hdphoto2.wdp"/><Relationship Id="rId68" Type="http://schemas.openxmlformats.org/officeDocument/2006/relationships/image" Target="../media/image42.gif"/><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66" Type="http://schemas.openxmlformats.org/officeDocument/2006/relationships/image" Target="../media/image40.jpeg"/><Relationship Id="rId5" Type="http://schemas.openxmlformats.org/officeDocument/2006/relationships/tags" Target="../tags/tag5.xml"/><Relationship Id="rId61" Type="http://schemas.microsoft.com/office/2007/relationships/hdphoto" Target="../media/hdphoto1.wdp"/><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35.xml"/><Relationship Id="rId64" Type="http://schemas.openxmlformats.org/officeDocument/2006/relationships/image" Target="../media/image38.png"/><Relationship Id="rId69" Type="http://schemas.openxmlformats.org/officeDocument/2006/relationships/image" Target="../media/image43.emf"/><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46.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31.emf"/><Relationship Id="rId67" Type="http://schemas.openxmlformats.org/officeDocument/2006/relationships/image" Target="../media/image41.jpeg"/><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image" Target="../media/image37.png"/><Relationship Id="rId70" Type="http://schemas.openxmlformats.org/officeDocument/2006/relationships/image" Target="../media/image44.png"/><Relationship Id="rId1" Type="http://schemas.openxmlformats.org/officeDocument/2006/relationships/vmlDrawing" Target="../drawings/vmlDrawing2.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36.png"/><Relationship Id="rId65" Type="http://schemas.openxmlformats.org/officeDocument/2006/relationships/image" Target="../media/image39.png"/><Relationship Id="rId73" Type="http://schemas.openxmlformats.org/officeDocument/2006/relationships/image" Target="../media/image47.emf"/><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71"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a:t>01 | 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dirty="0"/>
              <a:t>Andy Roberts | Data Platform Specialist, Microsoft Northeast</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54678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D80894F9-B593-417A-8B1F-5D9E0C8523CE}"/>
              </a:ext>
            </a:extLst>
          </p:cNvPr>
          <p:cNvSpPr/>
          <p:nvPr/>
        </p:nvSpPr>
        <p:spPr bwMode="auto">
          <a:xfrm>
            <a:off x="3885644" y="1868592"/>
            <a:ext cx="3504206" cy="4570703"/>
          </a:xfrm>
          <a:prstGeom prst="rect">
            <a:avLst/>
          </a:prstGeom>
          <a:solidFill>
            <a:srgbClr val="0078D7"/>
          </a:solidFill>
          <a:ln w="9525" cap="flat" cmpd="sng" algn="ctr">
            <a:noFill/>
            <a:prstDash val="solid"/>
            <a:headEnd type="none" w="med" len="med"/>
            <a:tailEnd type="none" w="med" len="med"/>
          </a:ln>
          <a:effectLst/>
        </p:spPr>
        <p:txBody>
          <a:bodyPr lIns="91414" tIns="91414" rIns="34284" bIns="34284" rtlCol="0" anchor="t"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Event Hub</a:t>
            </a:r>
            <a:endParaRPr kumimoji="0" lang="en-US" sz="3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BFF87B06-AA7D-4145-B8BA-2F4BED773512}"/>
              </a:ext>
            </a:extLst>
          </p:cNvPr>
          <p:cNvSpPr/>
          <p:nvPr/>
        </p:nvSpPr>
        <p:spPr bwMode="auto">
          <a:xfrm>
            <a:off x="4342713" y="2735150"/>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1</a:t>
            </a:r>
          </a:p>
        </p:txBody>
      </p:sp>
      <p:grpSp>
        <p:nvGrpSpPr>
          <p:cNvPr id="296" name="Group 295">
            <a:extLst>
              <a:ext uri="{FF2B5EF4-FFF2-40B4-BE49-F238E27FC236}">
                <a16:creationId xmlns:a16="http://schemas.microsoft.com/office/drawing/2014/main" id="{5D7D929E-4C14-4FC9-8FE0-F2AED088FD64}"/>
              </a:ext>
            </a:extLst>
          </p:cNvPr>
          <p:cNvGrpSpPr/>
          <p:nvPr/>
        </p:nvGrpSpPr>
        <p:grpSpPr>
          <a:xfrm>
            <a:off x="686152" y="3266394"/>
            <a:ext cx="1546223" cy="1523654"/>
            <a:chOff x="427037" y="1439862"/>
            <a:chExt cx="1765029" cy="1656444"/>
          </a:xfrm>
          <a:solidFill>
            <a:srgbClr val="FCD116"/>
          </a:solidFill>
        </p:grpSpPr>
        <p:grpSp>
          <p:nvGrpSpPr>
            <p:cNvPr id="329" name="Group 328">
              <a:extLst>
                <a:ext uri="{FF2B5EF4-FFF2-40B4-BE49-F238E27FC236}">
                  <a16:creationId xmlns:a16="http://schemas.microsoft.com/office/drawing/2014/main" id="{69A22844-39DD-4017-AE27-38420B11EFFB}"/>
                </a:ext>
              </a:extLst>
            </p:cNvPr>
            <p:cNvGrpSpPr/>
            <p:nvPr/>
          </p:nvGrpSpPr>
          <p:grpSpPr>
            <a:xfrm>
              <a:off x="427037" y="1439862"/>
              <a:ext cx="1764948" cy="152400"/>
              <a:chOff x="427037" y="1439862"/>
              <a:chExt cx="1764948" cy="152400"/>
            </a:xfrm>
            <a:grpFill/>
          </p:grpSpPr>
          <p:sp>
            <p:nvSpPr>
              <p:cNvPr id="429" name="Rectangle 428">
                <a:extLst>
                  <a:ext uri="{FF2B5EF4-FFF2-40B4-BE49-F238E27FC236}">
                    <a16:creationId xmlns:a16="http://schemas.microsoft.com/office/drawing/2014/main" id="{B8D8B51C-51CF-4EDF-9455-B3BB12EAE4A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AA901A72-4F85-49C1-B00C-3D8112A04686}"/>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1FFDBC70-FE25-4AFD-BF6C-90F011769C6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Rectangle 431">
                <a:extLst>
                  <a:ext uri="{FF2B5EF4-FFF2-40B4-BE49-F238E27FC236}">
                    <a16:creationId xmlns:a16="http://schemas.microsoft.com/office/drawing/2014/main" id="{787914E2-4F0F-4EB6-A746-4330F5AA781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Rectangle 432">
                <a:extLst>
                  <a:ext uri="{FF2B5EF4-FFF2-40B4-BE49-F238E27FC236}">
                    <a16:creationId xmlns:a16="http://schemas.microsoft.com/office/drawing/2014/main" id="{735F41E0-BACA-4F80-B3CD-EEED2A3C322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292D934-5929-49B9-9C87-CE23D5B5271C}"/>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3CFDF5E7-8659-4AFE-91FC-C0445E7F3AF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6C46CCD6-6B16-45F5-A028-6275CEEB26F3}"/>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Rectangle 436">
                <a:extLst>
                  <a:ext uri="{FF2B5EF4-FFF2-40B4-BE49-F238E27FC236}">
                    <a16:creationId xmlns:a16="http://schemas.microsoft.com/office/drawing/2014/main" id="{A2717416-49F3-4A86-AEDB-22C77148AC75}"/>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Rectangle 437">
                <a:extLst>
                  <a:ext uri="{FF2B5EF4-FFF2-40B4-BE49-F238E27FC236}">
                    <a16:creationId xmlns:a16="http://schemas.microsoft.com/office/drawing/2014/main" id="{3EEF762D-3FF1-4C3C-97BD-04C80A47D76B}"/>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0" name="Group 329">
              <a:extLst>
                <a:ext uri="{FF2B5EF4-FFF2-40B4-BE49-F238E27FC236}">
                  <a16:creationId xmlns:a16="http://schemas.microsoft.com/office/drawing/2014/main" id="{2B8BF1C6-24F3-4A2A-8700-24DA42A7E052}"/>
                </a:ext>
              </a:extLst>
            </p:cNvPr>
            <p:cNvGrpSpPr/>
            <p:nvPr/>
          </p:nvGrpSpPr>
          <p:grpSpPr>
            <a:xfrm>
              <a:off x="427046" y="1606978"/>
              <a:ext cx="1764948" cy="152400"/>
              <a:chOff x="427037" y="1439862"/>
              <a:chExt cx="1764948" cy="152400"/>
            </a:xfrm>
            <a:grpFill/>
          </p:grpSpPr>
          <p:sp>
            <p:nvSpPr>
              <p:cNvPr id="419" name="Rectangle 418">
                <a:extLst>
                  <a:ext uri="{FF2B5EF4-FFF2-40B4-BE49-F238E27FC236}">
                    <a16:creationId xmlns:a16="http://schemas.microsoft.com/office/drawing/2014/main" id="{CACC8CC7-0691-4A84-A94B-4A0C1A3F769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2AE4350D-FE83-4F15-8612-BDC9198447EC}"/>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41D364B6-C0F3-4B42-BD26-9A2004086EBC}"/>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2" name="Rectangle 421">
                <a:extLst>
                  <a:ext uri="{FF2B5EF4-FFF2-40B4-BE49-F238E27FC236}">
                    <a16:creationId xmlns:a16="http://schemas.microsoft.com/office/drawing/2014/main" id="{129E1D91-0BB8-4C6D-818C-A8A039706E0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3" name="Rectangle 422">
                <a:extLst>
                  <a:ext uri="{FF2B5EF4-FFF2-40B4-BE49-F238E27FC236}">
                    <a16:creationId xmlns:a16="http://schemas.microsoft.com/office/drawing/2014/main" id="{D9663608-E18B-49E1-B892-57F6B4060FE3}"/>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B949E82A-F99B-4D35-B811-97E68CDC7FA8}"/>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64449984-4B18-43F7-8659-5FD193685AA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6822757F-107C-40CB-ABA2-F81B889180AF}"/>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7" name="Rectangle 426">
                <a:extLst>
                  <a:ext uri="{FF2B5EF4-FFF2-40B4-BE49-F238E27FC236}">
                    <a16:creationId xmlns:a16="http://schemas.microsoft.com/office/drawing/2014/main" id="{E3A80028-97FD-493F-ADC2-D5585CD6A6F9}"/>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Rectangle 427">
                <a:extLst>
                  <a:ext uri="{FF2B5EF4-FFF2-40B4-BE49-F238E27FC236}">
                    <a16:creationId xmlns:a16="http://schemas.microsoft.com/office/drawing/2014/main" id="{221A907F-0498-4ED4-A0AA-642B93870798}"/>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1" name="Group 330">
              <a:extLst>
                <a:ext uri="{FF2B5EF4-FFF2-40B4-BE49-F238E27FC236}">
                  <a16:creationId xmlns:a16="http://schemas.microsoft.com/office/drawing/2014/main" id="{7272693D-6641-4FAB-9BB1-7082A0F7DD69}"/>
                </a:ext>
              </a:extLst>
            </p:cNvPr>
            <p:cNvGrpSpPr/>
            <p:nvPr/>
          </p:nvGrpSpPr>
          <p:grpSpPr>
            <a:xfrm>
              <a:off x="427055" y="1774094"/>
              <a:ext cx="1764948" cy="152400"/>
              <a:chOff x="427037" y="1439862"/>
              <a:chExt cx="1764948" cy="152400"/>
            </a:xfrm>
            <a:grpFill/>
          </p:grpSpPr>
          <p:sp>
            <p:nvSpPr>
              <p:cNvPr id="409" name="Rectangle 408">
                <a:extLst>
                  <a:ext uri="{FF2B5EF4-FFF2-40B4-BE49-F238E27FC236}">
                    <a16:creationId xmlns:a16="http://schemas.microsoft.com/office/drawing/2014/main" id="{0FE3846C-8A80-4C9C-BCC4-F5859A3A92E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5F485887-D80B-4D7B-9C8B-2412DF4EA38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92139C56-A95E-41C6-835B-BC5875F3D9D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2" name="Rectangle 411">
                <a:extLst>
                  <a:ext uri="{FF2B5EF4-FFF2-40B4-BE49-F238E27FC236}">
                    <a16:creationId xmlns:a16="http://schemas.microsoft.com/office/drawing/2014/main" id="{973A0642-F7D7-4666-92FB-8160B1813496}"/>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3" name="Rectangle 412">
                <a:extLst>
                  <a:ext uri="{FF2B5EF4-FFF2-40B4-BE49-F238E27FC236}">
                    <a16:creationId xmlns:a16="http://schemas.microsoft.com/office/drawing/2014/main" id="{79DB857A-0B08-44D8-870D-D6D4F4E2D0F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6251B21C-D53A-46E2-BE9B-105BE0F6953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85F7BD91-CE36-48F0-8312-3B23E6CE4259}"/>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E7420F2C-256F-424B-8A8E-EB978189A71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Rectangle 416">
                <a:extLst>
                  <a:ext uri="{FF2B5EF4-FFF2-40B4-BE49-F238E27FC236}">
                    <a16:creationId xmlns:a16="http://schemas.microsoft.com/office/drawing/2014/main" id="{C602D18D-4A7B-4A67-90DF-E8023ACF7F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DB8888EC-CA1C-4123-AEC7-BB939222F286}"/>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BD117F13-28B9-474B-8E49-A61720C849FC}"/>
                </a:ext>
              </a:extLst>
            </p:cNvPr>
            <p:cNvGrpSpPr/>
            <p:nvPr/>
          </p:nvGrpSpPr>
          <p:grpSpPr>
            <a:xfrm>
              <a:off x="427064" y="1941210"/>
              <a:ext cx="1764948" cy="152400"/>
              <a:chOff x="427037" y="1439862"/>
              <a:chExt cx="1764948" cy="152400"/>
            </a:xfrm>
            <a:grpFill/>
          </p:grpSpPr>
          <p:sp>
            <p:nvSpPr>
              <p:cNvPr id="399" name="Rectangle 398">
                <a:extLst>
                  <a:ext uri="{FF2B5EF4-FFF2-40B4-BE49-F238E27FC236}">
                    <a16:creationId xmlns:a16="http://schemas.microsoft.com/office/drawing/2014/main" id="{51D4A8E5-D801-48F3-9D85-42C1EEF2143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B77A537F-AA18-4A45-86C4-D5E83F8CEA2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0E89135F-16B4-41FD-A440-676EB967E73B}"/>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94D06313-E34E-400E-BD75-893385CD5722}"/>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Rectangle 402">
                <a:extLst>
                  <a:ext uri="{FF2B5EF4-FFF2-40B4-BE49-F238E27FC236}">
                    <a16:creationId xmlns:a16="http://schemas.microsoft.com/office/drawing/2014/main" id="{6BF7B13E-1445-4984-978E-6BFBFF6E49DF}"/>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07D18392-9A40-4C8D-83D1-164B24BF0CE5}"/>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128BB8E7-FA27-4D80-BF36-F670A1CF509F}"/>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515AF965-CF1C-441E-A8A1-93EC65D1213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Rectangle 406">
                <a:extLst>
                  <a:ext uri="{FF2B5EF4-FFF2-40B4-BE49-F238E27FC236}">
                    <a16:creationId xmlns:a16="http://schemas.microsoft.com/office/drawing/2014/main" id="{97F915B5-FE28-4522-9436-B83CE04B0BBC}"/>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Rectangle 407">
                <a:extLst>
                  <a:ext uri="{FF2B5EF4-FFF2-40B4-BE49-F238E27FC236}">
                    <a16:creationId xmlns:a16="http://schemas.microsoft.com/office/drawing/2014/main" id="{F45B73FD-6BFA-48D3-85AC-4DAC612C48B1}"/>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1C9EC414-337C-4565-BC3D-A6D3F7755B4F}"/>
                </a:ext>
              </a:extLst>
            </p:cNvPr>
            <p:cNvGrpSpPr/>
            <p:nvPr/>
          </p:nvGrpSpPr>
          <p:grpSpPr>
            <a:xfrm>
              <a:off x="427073" y="2108326"/>
              <a:ext cx="1764948" cy="152400"/>
              <a:chOff x="427037" y="1439862"/>
              <a:chExt cx="1764948" cy="152400"/>
            </a:xfrm>
            <a:grpFill/>
          </p:grpSpPr>
          <p:sp>
            <p:nvSpPr>
              <p:cNvPr id="389" name="Rectangle 388">
                <a:extLst>
                  <a:ext uri="{FF2B5EF4-FFF2-40B4-BE49-F238E27FC236}">
                    <a16:creationId xmlns:a16="http://schemas.microsoft.com/office/drawing/2014/main" id="{CD3BBE79-8C4B-4BD7-B50D-90038940E217}"/>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E0BB5729-9EA6-4C9A-9481-243C62F0A933}"/>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3DB11FFA-64F4-4788-A845-A0A830BDA6DF}"/>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Rectangle 391">
                <a:extLst>
                  <a:ext uri="{FF2B5EF4-FFF2-40B4-BE49-F238E27FC236}">
                    <a16:creationId xmlns:a16="http://schemas.microsoft.com/office/drawing/2014/main" id="{CF5A560D-3BC1-4805-94AE-C8D1AC33729B}"/>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Rectangle 392">
                <a:extLst>
                  <a:ext uri="{FF2B5EF4-FFF2-40B4-BE49-F238E27FC236}">
                    <a16:creationId xmlns:a16="http://schemas.microsoft.com/office/drawing/2014/main" id="{3BCDD70B-D1A6-48E1-9E2F-E462A9A8E41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4FBF1DB7-6FD5-4879-9E6A-3FC4A70EBE5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D9BC2D79-96A9-459E-B34D-6D391FC22266}"/>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9548694C-5890-499A-B8FF-F795A8B1BB1E}"/>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a:extLst>
                  <a:ext uri="{FF2B5EF4-FFF2-40B4-BE49-F238E27FC236}">
                    <a16:creationId xmlns:a16="http://schemas.microsoft.com/office/drawing/2014/main" id="{865FC2AC-6652-4D0C-A324-276CF334EB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Rectangle 397">
                <a:extLst>
                  <a:ext uri="{FF2B5EF4-FFF2-40B4-BE49-F238E27FC236}">
                    <a16:creationId xmlns:a16="http://schemas.microsoft.com/office/drawing/2014/main" id="{BBC3C020-E114-4ECE-A286-C5DA9141E58F}"/>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4" name="Group 333">
              <a:extLst>
                <a:ext uri="{FF2B5EF4-FFF2-40B4-BE49-F238E27FC236}">
                  <a16:creationId xmlns:a16="http://schemas.microsoft.com/office/drawing/2014/main" id="{6054E6C2-1133-4B08-98E7-04B5B8048A28}"/>
                </a:ext>
              </a:extLst>
            </p:cNvPr>
            <p:cNvGrpSpPr/>
            <p:nvPr/>
          </p:nvGrpSpPr>
          <p:grpSpPr>
            <a:xfrm>
              <a:off x="427082" y="2275442"/>
              <a:ext cx="1764948" cy="152400"/>
              <a:chOff x="427037" y="1439862"/>
              <a:chExt cx="1764948" cy="152400"/>
            </a:xfrm>
            <a:grpFill/>
          </p:grpSpPr>
          <p:sp>
            <p:nvSpPr>
              <p:cNvPr id="379" name="Rectangle 378">
                <a:extLst>
                  <a:ext uri="{FF2B5EF4-FFF2-40B4-BE49-F238E27FC236}">
                    <a16:creationId xmlns:a16="http://schemas.microsoft.com/office/drawing/2014/main" id="{E1DB8B97-C79E-41E9-82A2-F632A9D8CBB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633EB799-E95A-4A34-B3D6-05BD04771E3D}"/>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F7D9885D-EA5D-4B2B-A2C2-0981876B431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3FD886F4-C1DB-4481-905E-F21CA03BDB4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Rectangle 382">
                <a:extLst>
                  <a:ext uri="{FF2B5EF4-FFF2-40B4-BE49-F238E27FC236}">
                    <a16:creationId xmlns:a16="http://schemas.microsoft.com/office/drawing/2014/main" id="{7FC7B7D9-9850-47E6-BCC1-566A50B5B920}"/>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C57975A1-F790-46CC-9AC4-5ABF6CE9E58A}"/>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3E7B239B-2F0B-4EC2-8D87-458F60BCB7A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0BE20C63-579F-401A-BC6A-10205592A19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F5BC6E9E-49BA-4A02-88A0-610605D740AF}"/>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EB273A76-496A-43A1-B9E6-95DFFD939E95}"/>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00CC6EF4-3470-4318-A092-76B47CEAEA70}"/>
                </a:ext>
              </a:extLst>
            </p:cNvPr>
            <p:cNvGrpSpPr/>
            <p:nvPr/>
          </p:nvGrpSpPr>
          <p:grpSpPr>
            <a:xfrm>
              <a:off x="427091" y="2442558"/>
              <a:ext cx="1764948" cy="152400"/>
              <a:chOff x="427037" y="1439862"/>
              <a:chExt cx="1764948" cy="152400"/>
            </a:xfrm>
            <a:grpFill/>
          </p:grpSpPr>
          <p:sp>
            <p:nvSpPr>
              <p:cNvPr id="369" name="Rectangle 368">
                <a:extLst>
                  <a:ext uri="{FF2B5EF4-FFF2-40B4-BE49-F238E27FC236}">
                    <a16:creationId xmlns:a16="http://schemas.microsoft.com/office/drawing/2014/main" id="{EFEC0C73-57DF-4519-AA43-436DE744D6B4}"/>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38FFECF5-3C6D-41A4-A5CA-3EA157794822}"/>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6D21ACD9-18EE-4D4C-A815-919EF8D6270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a:extLst>
                  <a:ext uri="{FF2B5EF4-FFF2-40B4-BE49-F238E27FC236}">
                    <a16:creationId xmlns:a16="http://schemas.microsoft.com/office/drawing/2014/main" id="{386FC24F-9C05-479A-A32E-28A0DE3D756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Rectangle 372">
                <a:extLst>
                  <a:ext uri="{FF2B5EF4-FFF2-40B4-BE49-F238E27FC236}">
                    <a16:creationId xmlns:a16="http://schemas.microsoft.com/office/drawing/2014/main" id="{57B89043-A248-4F2D-9E88-CD609C971E9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55248919-8AFD-47A9-AA4D-6233C28734D0}"/>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F5F4353F-BBC8-4309-A409-4AC9524FBD7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7F0CD986-8A3E-4DC5-8B49-7E5E2A9DE0B9}"/>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7" name="Rectangle 376">
                <a:extLst>
                  <a:ext uri="{FF2B5EF4-FFF2-40B4-BE49-F238E27FC236}">
                    <a16:creationId xmlns:a16="http://schemas.microsoft.com/office/drawing/2014/main" id="{2DE7D14F-A37C-40AD-A22B-2DF7553E243A}"/>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8" name="Rectangle 377">
                <a:extLst>
                  <a:ext uri="{FF2B5EF4-FFF2-40B4-BE49-F238E27FC236}">
                    <a16:creationId xmlns:a16="http://schemas.microsoft.com/office/drawing/2014/main" id="{9029431E-E860-4B9B-896B-BCCE769B2B6E}"/>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5AF375A4-E19B-4BC5-9BE8-7FA0F0308125}"/>
                </a:ext>
              </a:extLst>
            </p:cNvPr>
            <p:cNvGrpSpPr/>
            <p:nvPr/>
          </p:nvGrpSpPr>
          <p:grpSpPr>
            <a:xfrm>
              <a:off x="427100" y="2609674"/>
              <a:ext cx="1764948" cy="152400"/>
              <a:chOff x="427037" y="1439862"/>
              <a:chExt cx="1764948" cy="152400"/>
            </a:xfrm>
            <a:grpFill/>
          </p:grpSpPr>
          <p:sp>
            <p:nvSpPr>
              <p:cNvPr id="359" name="Rectangle 358">
                <a:extLst>
                  <a:ext uri="{FF2B5EF4-FFF2-40B4-BE49-F238E27FC236}">
                    <a16:creationId xmlns:a16="http://schemas.microsoft.com/office/drawing/2014/main" id="{8C5B4D35-C5C5-4E35-8493-31AE9807590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3983856F-0084-42F3-AC95-0FAFF9DB914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00A27264-3545-45C4-8A39-A4155C7C73A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CF3ED2AF-9DA3-431E-AF05-4AA890831261}"/>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9F0AB92E-212B-4686-A8DC-438FB29734EC}"/>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FB17D23F-6A42-4439-BE5C-DA786C6F0E3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F31ED029-4EA7-446A-A107-1905C2849D0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Rectangle 365">
                <a:extLst>
                  <a:ext uri="{FF2B5EF4-FFF2-40B4-BE49-F238E27FC236}">
                    <a16:creationId xmlns:a16="http://schemas.microsoft.com/office/drawing/2014/main" id="{E0820DC0-DDE0-4B5F-888B-1E441EFE5D9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Rectangle 366">
                <a:extLst>
                  <a:ext uri="{FF2B5EF4-FFF2-40B4-BE49-F238E27FC236}">
                    <a16:creationId xmlns:a16="http://schemas.microsoft.com/office/drawing/2014/main" id="{4D65BB96-3DA5-4FA0-9121-3874364B2B1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Rectangle 367">
                <a:extLst>
                  <a:ext uri="{FF2B5EF4-FFF2-40B4-BE49-F238E27FC236}">
                    <a16:creationId xmlns:a16="http://schemas.microsoft.com/office/drawing/2014/main" id="{4C930A8D-0313-4167-B03F-C77DEF23942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4E044037-B78F-40FF-8445-8313F5A5C41B}"/>
                </a:ext>
              </a:extLst>
            </p:cNvPr>
            <p:cNvGrpSpPr/>
            <p:nvPr/>
          </p:nvGrpSpPr>
          <p:grpSpPr>
            <a:xfrm>
              <a:off x="427109" y="2776790"/>
              <a:ext cx="1764948" cy="152400"/>
              <a:chOff x="427037" y="1439862"/>
              <a:chExt cx="1764948" cy="152400"/>
            </a:xfrm>
            <a:grpFill/>
          </p:grpSpPr>
          <p:sp>
            <p:nvSpPr>
              <p:cNvPr id="349" name="Rectangle 348">
                <a:extLst>
                  <a:ext uri="{FF2B5EF4-FFF2-40B4-BE49-F238E27FC236}">
                    <a16:creationId xmlns:a16="http://schemas.microsoft.com/office/drawing/2014/main" id="{959661E5-EC46-4D19-BA82-D93E8FDB508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0990BAB1-36D7-4E31-BAF9-B3B3F6B7F5F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E8CDE513-DADC-4591-9CBE-F096316AF45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A5D24F99-3928-440E-B4D0-BA35539C095F}"/>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FE51FB1B-84F2-4649-91D4-5F3523C0FFC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Rectangle 353">
                <a:extLst>
                  <a:ext uri="{FF2B5EF4-FFF2-40B4-BE49-F238E27FC236}">
                    <a16:creationId xmlns:a16="http://schemas.microsoft.com/office/drawing/2014/main" id="{009423C4-42C1-4B8E-B84B-F6090EB7D91B}"/>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Rectangle 354">
                <a:extLst>
                  <a:ext uri="{FF2B5EF4-FFF2-40B4-BE49-F238E27FC236}">
                    <a16:creationId xmlns:a16="http://schemas.microsoft.com/office/drawing/2014/main" id="{9B4274C7-F96F-4DE1-88CD-C54EFEA589D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B5DA410A-38D7-4AC7-A59A-A49C67AD37F7}"/>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75556287-4CCB-4139-B952-79F8D7E7ADB8}"/>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A809E870-73AC-43F8-8550-13F327F3F1D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8" name="Group 337">
              <a:extLst>
                <a:ext uri="{FF2B5EF4-FFF2-40B4-BE49-F238E27FC236}">
                  <a16:creationId xmlns:a16="http://schemas.microsoft.com/office/drawing/2014/main" id="{B8595C30-CC6E-4A59-AF9D-9E1660A8A35A}"/>
                </a:ext>
              </a:extLst>
            </p:cNvPr>
            <p:cNvGrpSpPr/>
            <p:nvPr/>
          </p:nvGrpSpPr>
          <p:grpSpPr>
            <a:xfrm>
              <a:off x="427118" y="2943906"/>
              <a:ext cx="1764948" cy="152400"/>
              <a:chOff x="427037" y="1439862"/>
              <a:chExt cx="1764948" cy="152400"/>
            </a:xfrm>
            <a:grpFill/>
          </p:grpSpPr>
          <p:sp>
            <p:nvSpPr>
              <p:cNvPr id="339" name="Rectangle 338">
                <a:extLst>
                  <a:ext uri="{FF2B5EF4-FFF2-40B4-BE49-F238E27FC236}">
                    <a16:creationId xmlns:a16="http://schemas.microsoft.com/office/drawing/2014/main" id="{3357A92A-497D-4507-B334-2049EAB1375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3F919F86-9618-41D0-9887-268349C8B284}"/>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Rectangle 340">
                <a:extLst>
                  <a:ext uri="{FF2B5EF4-FFF2-40B4-BE49-F238E27FC236}">
                    <a16:creationId xmlns:a16="http://schemas.microsoft.com/office/drawing/2014/main" id="{045992E4-E3D5-4C61-A069-1F79D072844A}"/>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CF94239B-AEDE-41E9-ABD5-3D42A0FEECF5}"/>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454A46E-3F88-42EC-BEC8-8915EB193ED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7FA12790-8FC1-4645-B980-5859EFB5394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0D653CD-2F3F-48BA-9E98-EA4377D37054}"/>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a:extLst>
                  <a:ext uri="{FF2B5EF4-FFF2-40B4-BE49-F238E27FC236}">
                    <a16:creationId xmlns:a16="http://schemas.microsoft.com/office/drawing/2014/main" id="{4657930C-BEC1-4594-9E22-83C701C54C0A}"/>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D34E3456-B5A1-40B6-9DCF-3D56456413C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5CAECB03-5EF3-4FA6-8A01-B892C44DF002}"/>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7" name="Rectangle 296">
            <a:extLst>
              <a:ext uri="{FF2B5EF4-FFF2-40B4-BE49-F238E27FC236}">
                <a16:creationId xmlns:a16="http://schemas.microsoft.com/office/drawing/2014/main" id="{11FEE322-2E04-47C7-A4B5-6D246437F5F2}"/>
              </a:ext>
            </a:extLst>
          </p:cNvPr>
          <p:cNvSpPr/>
          <p:nvPr/>
        </p:nvSpPr>
        <p:spPr bwMode="auto">
          <a:xfrm>
            <a:off x="4339719" y="362069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2</a:t>
            </a:r>
          </a:p>
        </p:txBody>
      </p:sp>
      <p:sp>
        <p:nvSpPr>
          <p:cNvPr id="298" name="Rectangle 297">
            <a:extLst>
              <a:ext uri="{FF2B5EF4-FFF2-40B4-BE49-F238E27FC236}">
                <a16:creationId xmlns:a16="http://schemas.microsoft.com/office/drawing/2014/main" id="{968878C8-37DB-4DC4-9BAB-2341240239D9}"/>
              </a:ext>
            </a:extLst>
          </p:cNvPr>
          <p:cNvSpPr/>
          <p:nvPr/>
        </p:nvSpPr>
        <p:spPr bwMode="auto">
          <a:xfrm>
            <a:off x="4339719" y="453483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3</a:t>
            </a:r>
          </a:p>
        </p:txBody>
      </p:sp>
      <p:sp>
        <p:nvSpPr>
          <p:cNvPr id="299" name="Rectangle 298">
            <a:extLst>
              <a:ext uri="{FF2B5EF4-FFF2-40B4-BE49-F238E27FC236}">
                <a16:creationId xmlns:a16="http://schemas.microsoft.com/office/drawing/2014/main" id="{83206026-200B-43E7-8635-52491ECDAD56}"/>
              </a:ext>
            </a:extLst>
          </p:cNvPr>
          <p:cNvSpPr/>
          <p:nvPr/>
        </p:nvSpPr>
        <p:spPr bwMode="auto">
          <a:xfrm>
            <a:off x="4339719" y="5442162"/>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4</a:t>
            </a:r>
          </a:p>
        </p:txBody>
      </p:sp>
      <p:sp>
        <p:nvSpPr>
          <p:cNvPr id="300" name="Right Arrow 133">
            <a:extLst>
              <a:ext uri="{FF2B5EF4-FFF2-40B4-BE49-F238E27FC236}">
                <a16:creationId xmlns:a16="http://schemas.microsoft.com/office/drawing/2014/main" id="{37B0EE01-6F7A-433E-9FFD-440B4EC0170B}"/>
              </a:ext>
            </a:extLst>
          </p:cNvPr>
          <p:cNvSpPr/>
          <p:nvPr/>
        </p:nvSpPr>
        <p:spPr bwMode="auto">
          <a:xfrm>
            <a:off x="2438254" y="3042590"/>
            <a:ext cx="1336537" cy="2005098"/>
          </a:xfrm>
          <a:prstGeom prst="rightArrow">
            <a:avLst>
              <a:gd name="adj1" fmla="val 75275"/>
              <a:gd name="adj2" fmla="val 50000"/>
            </a:avLst>
          </a:prstGeom>
          <a:noFill/>
          <a:ln w="38100" cap="flat" cmpd="sng" algn="ctr">
            <a:solidFill>
              <a:srgbClr val="FFC000"/>
            </a:solidFill>
            <a:prstDash val="solid"/>
            <a:headEnd type="none" w="med" len="med"/>
            <a:tailEnd type="none" w="med" len="med"/>
          </a:ln>
          <a:effectLst/>
        </p:spPr>
        <p:txBody>
          <a:bodyPr rot="0" spcFirstLastPara="0" vert="horz" wrap="square" lIns="182802" tIns="146241" rIns="182802" bIns="14624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HTTPS</a:t>
            </a: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AMQP</a:t>
            </a:r>
          </a:p>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39F26E-0A06-4A8F-8074-2DF714F20F81}"/>
              </a:ext>
            </a:extLst>
          </p:cNvPr>
          <p:cNvSpPr/>
          <p:nvPr/>
        </p:nvSpPr>
        <p:spPr bwMode="auto">
          <a:xfrm>
            <a:off x="9595393" y="2496277"/>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9817C658-8931-4CCE-A516-5F1B91E6AA77}"/>
              </a:ext>
            </a:extLst>
          </p:cNvPr>
          <p:cNvSpPr/>
          <p:nvPr/>
        </p:nvSpPr>
        <p:spPr bwMode="auto">
          <a:xfrm>
            <a:off x="9599022" y="2950851"/>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302">
            <a:extLst>
              <a:ext uri="{FF2B5EF4-FFF2-40B4-BE49-F238E27FC236}">
                <a16:creationId xmlns:a16="http://schemas.microsoft.com/office/drawing/2014/main" id="{AF327F79-5149-4DA2-ACB0-8B2712F44547}"/>
              </a:ext>
            </a:extLst>
          </p:cNvPr>
          <p:cNvSpPr/>
          <p:nvPr/>
        </p:nvSpPr>
        <p:spPr bwMode="auto">
          <a:xfrm>
            <a:off x="9595393" y="3405422"/>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157CE6C6-38D1-4299-AE6C-E126BF2E9ECD}"/>
              </a:ext>
            </a:extLst>
          </p:cNvPr>
          <p:cNvSpPr/>
          <p:nvPr/>
        </p:nvSpPr>
        <p:spPr bwMode="auto">
          <a:xfrm>
            <a:off x="9595393" y="3864646"/>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TextBox 207">
            <a:extLst>
              <a:ext uri="{FF2B5EF4-FFF2-40B4-BE49-F238E27FC236}">
                <a16:creationId xmlns:a16="http://schemas.microsoft.com/office/drawing/2014/main" id="{0044AA67-5EF0-44BE-A0A3-1024A4B76219}"/>
              </a:ext>
            </a:extLst>
          </p:cNvPr>
          <p:cNvSpPr txBox="1"/>
          <p:nvPr/>
        </p:nvSpPr>
        <p:spPr>
          <a:xfrm>
            <a:off x="363967" y="4789051"/>
            <a:ext cx="2193444"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Producers</a:t>
            </a:r>
          </a:p>
        </p:txBody>
      </p:sp>
      <p:sp>
        <p:nvSpPr>
          <p:cNvPr id="306" name="TextBox 208">
            <a:extLst>
              <a:ext uri="{FF2B5EF4-FFF2-40B4-BE49-F238E27FC236}">
                <a16:creationId xmlns:a16="http://schemas.microsoft.com/office/drawing/2014/main" id="{24276052-29F3-42EF-B404-5CB30AD3FF9A}"/>
              </a:ext>
            </a:extLst>
          </p:cNvPr>
          <p:cNvSpPr txBox="1"/>
          <p:nvPr/>
        </p:nvSpPr>
        <p:spPr>
          <a:xfrm>
            <a:off x="8914216" y="4149714"/>
            <a:ext cx="2121310"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Receivers</a:t>
            </a:r>
          </a:p>
        </p:txBody>
      </p:sp>
      <p:cxnSp>
        <p:nvCxnSpPr>
          <p:cNvPr id="307" name="Straight Arrow Connector 704">
            <a:extLst>
              <a:ext uri="{FF2B5EF4-FFF2-40B4-BE49-F238E27FC236}">
                <a16:creationId xmlns:a16="http://schemas.microsoft.com/office/drawing/2014/main" id="{207415CD-7565-472D-8CA5-5B6914E35013}"/>
              </a:ext>
            </a:extLst>
          </p:cNvPr>
          <p:cNvCxnSpPr>
            <a:cxnSpLocks/>
            <a:stCxn id="301" idx="1"/>
            <a:endCxn id="295" idx="3"/>
          </p:cNvCxnSpPr>
          <p:nvPr/>
        </p:nvCxnSpPr>
        <p:spPr>
          <a:xfrm rot="10800000" flipV="1">
            <a:off x="6475708" y="2686723"/>
            <a:ext cx="3119685" cy="432724"/>
          </a:xfrm>
          <a:prstGeom prst="bentConnector3">
            <a:avLst>
              <a:gd name="adj1" fmla="val 84398"/>
            </a:avLst>
          </a:prstGeom>
          <a:noFill/>
          <a:ln w="28575" cap="flat" cmpd="sng" algn="ctr">
            <a:solidFill>
              <a:srgbClr val="00B294"/>
            </a:solidFill>
            <a:prstDash val="solid"/>
            <a:headEnd type="diamond" w="med" len="med"/>
            <a:tailEnd type="triangle" w="med" len="med"/>
          </a:ln>
          <a:effectLst/>
        </p:spPr>
      </p:cxnSp>
      <p:cxnSp>
        <p:nvCxnSpPr>
          <p:cNvPr id="308" name="Straight Arrow Connector 704">
            <a:extLst>
              <a:ext uri="{FF2B5EF4-FFF2-40B4-BE49-F238E27FC236}">
                <a16:creationId xmlns:a16="http://schemas.microsoft.com/office/drawing/2014/main" id="{8A6DEF2D-2AFF-4D72-927D-4F0CA355B71D}"/>
              </a:ext>
            </a:extLst>
          </p:cNvPr>
          <p:cNvCxnSpPr>
            <a:cxnSpLocks/>
            <a:stCxn id="302" idx="1"/>
            <a:endCxn id="297" idx="3"/>
          </p:cNvCxnSpPr>
          <p:nvPr/>
        </p:nvCxnSpPr>
        <p:spPr>
          <a:xfrm rot="10800000" flipV="1">
            <a:off x="6472713" y="3141297"/>
            <a:ext cx="3126310" cy="863697"/>
          </a:xfrm>
          <a:prstGeom prst="bentConnector3">
            <a:avLst>
              <a:gd name="adj1" fmla="val 84326"/>
            </a:avLst>
          </a:prstGeom>
          <a:noFill/>
          <a:ln w="28575" cap="flat" cmpd="sng" algn="ctr">
            <a:solidFill>
              <a:srgbClr val="00B294"/>
            </a:solidFill>
            <a:prstDash val="solid"/>
            <a:headEnd type="diamond" w="med" len="med"/>
            <a:tailEnd type="triangle" w="med" len="med"/>
          </a:ln>
          <a:effectLst/>
        </p:spPr>
      </p:cxnSp>
      <p:cxnSp>
        <p:nvCxnSpPr>
          <p:cNvPr id="309" name="Straight Connector 308">
            <a:extLst>
              <a:ext uri="{FF2B5EF4-FFF2-40B4-BE49-F238E27FC236}">
                <a16:creationId xmlns:a16="http://schemas.microsoft.com/office/drawing/2014/main" id="{D962D284-F265-43F0-B021-FCE25E21B097}"/>
              </a:ext>
            </a:extLst>
          </p:cNvPr>
          <p:cNvCxnSpPr/>
          <p:nvPr/>
        </p:nvCxnSpPr>
        <p:spPr>
          <a:xfrm>
            <a:off x="3809465" y="1873198"/>
            <a:ext cx="0" cy="4566096"/>
          </a:xfrm>
          <a:prstGeom prst="line">
            <a:avLst/>
          </a:prstGeom>
          <a:noFill/>
          <a:ln w="19050" cap="flat" cmpd="sng" algn="ctr">
            <a:solidFill>
              <a:srgbClr val="D2D2D2">
                <a:lumMod val="50000"/>
                <a:lumOff val="50000"/>
              </a:srgbClr>
            </a:solidFill>
            <a:prstDash val="solid"/>
            <a:headEnd type="none"/>
            <a:tailEnd type="none"/>
          </a:ln>
          <a:effectLst/>
        </p:spPr>
      </p:cxnSp>
      <p:sp>
        <p:nvSpPr>
          <p:cNvPr id="310" name="Arc 309">
            <a:extLst>
              <a:ext uri="{FF2B5EF4-FFF2-40B4-BE49-F238E27FC236}">
                <a16:creationId xmlns:a16="http://schemas.microsoft.com/office/drawing/2014/main" id="{DEDDA6A1-3BA6-46AF-8C24-09F2F13CE66F}"/>
              </a:ext>
            </a:extLst>
          </p:cNvPr>
          <p:cNvSpPr/>
          <p:nvPr/>
        </p:nvSpPr>
        <p:spPr>
          <a:xfrm flipH="1" flipV="1">
            <a:off x="1425910" y="1736811"/>
            <a:ext cx="3907124" cy="1055603"/>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sp>
        <p:nvSpPr>
          <p:cNvPr id="311" name="Arc 310">
            <a:extLst>
              <a:ext uri="{FF2B5EF4-FFF2-40B4-BE49-F238E27FC236}">
                <a16:creationId xmlns:a16="http://schemas.microsoft.com/office/drawing/2014/main" id="{18AC1745-8E8B-4665-AB6F-0F20CB2B50AF}"/>
              </a:ext>
            </a:extLst>
          </p:cNvPr>
          <p:cNvSpPr/>
          <p:nvPr/>
        </p:nvSpPr>
        <p:spPr>
          <a:xfrm flipH="1">
            <a:off x="1425910" y="5321494"/>
            <a:ext cx="3907124" cy="1193979"/>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C57A70FA-D688-457E-B04D-55A1199667B2}"/>
              </a:ext>
            </a:extLst>
          </p:cNvPr>
          <p:cNvSpPr/>
          <p:nvPr/>
        </p:nvSpPr>
        <p:spPr bwMode="auto">
          <a:xfrm>
            <a:off x="4377172" y="2781698"/>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F64EECBA-FB6E-49CB-B5AE-A4D7EE3152F2}"/>
              </a:ext>
            </a:extLst>
          </p:cNvPr>
          <p:cNvSpPr/>
          <p:nvPr/>
        </p:nvSpPr>
        <p:spPr bwMode="auto">
          <a:xfrm>
            <a:off x="4387726" y="3671638"/>
            <a:ext cx="534708" cy="5254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7EFA39B1-EEB2-45A3-B355-E1FF10405B2E}"/>
              </a:ext>
            </a:extLst>
          </p:cNvPr>
          <p:cNvSpPr/>
          <p:nvPr/>
        </p:nvSpPr>
        <p:spPr bwMode="auto">
          <a:xfrm>
            <a:off x="4379245" y="4583945"/>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314">
            <a:extLst>
              <a:ext uri="{FF2B5EF4-FFF2-40B4-BE49-F238E27FC236}">
                <a16:creationId xmlns:a16="http://schemas.microsoft.com/office/drawing/2014/main" id="{87196080-A42E-4F3E-907D-D36963F4C554}"/>
              </a:ext>
            </a:extLst>
          </p:cNvPr>
          <p:cNvSpPr/>
          <p:nvPr/>
        </p:nvSpPr>
        <p:spPr bwMode="auto">
          <a:xfrm>
            <a:off x="4387727" y="5478519"/>
            <a:ext cx="774851" cy="565373"/>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Rectangle 315">
            <a:extLst>
              <a:ext uri="{FF2B5EF4-FFF2-40B4-BE49-F238E27FC236}">
                <a16:creationId xmlns:a16="http://schemas.microsoft.com/office/drawing/2014/main" id="{D566F6C8-688F-42C6-918D-CB5045A23810}"/>
              </a:ext>
            </a:extLst>
          </p:cNvPr>
          <p:cNvSpPr/>
          <p:nvPr/>
        </p:nvSpPr>
        <p:spPr bwMode="auto">
          <a:xfrm>
            <a:off x="9599022" y="462066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A235131C-2F00-41ED-AE03-B6BDF97F63F9}"/>
              </a:ext>
            </a:extLst>
          </p:cNvPr>
          <p:cNvSpPr/>
          <p:nvPr/>
        </p:nvSpPr>
        <p:spPr bwMode="auto">
          <a:xfrm>
            <a:off x="9602651" y="5075241"/>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317">
            <a:extLst>
              <a:ext uri="{FF2B5EF4-FFF2-40B4-BE49-F238E27FC236}">
                <a16:creationId xmlns:a16="http://schemas.microsoft.com/office/drawing/2014/main" id="{F19D91F6-3F1B-4E22-A3FF-2B22767128C4}"/>
              </a:ext>
            </a:extLst>
          </p:cNvPr>
          <p:cNvSpPr/>
          <p:nvPr/>
        </p:nvSpPr>
        <p:spPr bwMode="auto">
          <a:xfrm>
            <a:off x="9599022" y="5529814"/>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318">
            <a:extLst>
              <a:ext uri="{FF2B5EF4-FFF2-40B4-BE49-F238E27FC236}">
                <a16:creationId xmlns:a16="http://schemas.microsoft.com/office/drawing/2014/main" id="{90B6BA66-C39A-4428-9769-4A63A9DEA76E}"/>
              </a:ext>
            </a:extLst>
          </p:cNvPr>
          <p:cNvSpPr/>
          <p:nvPr/>
        </p:nvSpPr>
        <p:spPr bwMode="auto">
          <a:xfrm>
            <a:off x="9599022" y="598903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Arrow Connector 704">
            <a:extLst>
              <a:ext uri="{FF2B5EF4-FFF2-40B4-BE49-F238E27FC236}">
                <a16:creationId xmlns:a16="http://schemas.microsoft.com/office/drawing/2014/main" id="{2BFB34D5-D9B6-429E-8FFE-BC2E1D7D5A16}"/>
              </a:ext>
            </a:extLst>
          </p:cNvPr>
          <p:cNvCxnSpPr>
            <a:cxnSpLocks/>
            <a:stCxn id="318" idx="1"/>
            <a:endCxn id="298" idx="3"/>
          </p:cNvCxnSpPr>
          <p:nvPr/>
        </p:nvCxnSpPr>
        <p:spPr>
          <a:xfrm rot="10800000">
            <a:off x="6472713" y="4919133"/>
            <a:ext cx="3126310" cy="801126"/>
          </a:xfrm>
          <a:prstGeom prst="bentConnector3">
            <a:avLst>
              <a:gd name="adj1" fmla="val 91276"/>
            </a:avLst>
          </a:prstGeom>
          <a:noFill/>
          <a:ln w="38100" cap="flat" cmpd="sng" algn="ctr">
            <a:solidFill>
              <a:srgbClr val="737373"/>
            </a:solidFill>
            <a:prstDash val="solid"/>
            <a:headEnd type="diamond" w="med" len="med"/>
            <a:tailEnd type="triangle" w="med" len="med"/>
          </a:ln>
          <a:effectLst/>
        </p:spPr>
      </p:cxnSp>
      <p:cxnSp>
        <p:nvCxnSpPr>
          <p:cNvPr id="321" name="Straight Arrow Connector 704">
            <a:extLst>
              <a:ext uri="{FF2B5EF4-FFF2-40B4-BE49-F238E27FC236}">
                <a16:creationId xmlns:a16="http://schemas.microsoft.com/office/drawing/2014/main" id="{7DAC29B2-E980-4B0D-9E3E-6D8D820C8DE0}"/>
              </a:ext>
            </a:extLst>
          </p:cNvPr>
          <p:cNvCxnSpPr>
            <a:cxnSpLocks/>
            <a:stCxn id="319" idx="1"/>
            <a:endCxn id="299" idx="3"/>
          </p:cNvCxnSpPr>
          <p:nvPr/>
        </p:nvCxnSpPr>
        <p:spPr>
          <a:xfrm rot="10800000">
            <a:off x="6472713" y="5826460"/>
            <a:ext cx="3126310" cy="353024"/>
          </a:xfrm>
          <a:prstGeom prst="bentConnector3">
            <a:avLst>
              <a:gd name="adj1" fmla="val 91092"/>
            </a:avLst>
          </a:prstGeom>
          <a:noFill/>
          <a:ln w="38100" cap="flat" cmpd="sng" algn="ctr">
            <a:solidFill>
              <a:srgbClr val="737373"/>
            </a:solidFill>
            <a:prstDash val="solid"/>
            <a:headEnd type="diamond" w="med" len="med"/>
            <a:tailEnd type="triangle" w="med" len="med"/>
          </a:ln>
          <a:effectLst/>
        </p:spPr>
      </p:cxnSp>
      <p:cxnSp>
        <p:nvCxnSpPr>
          <p:cNvPr id="322" name="Straight Arrow Connector 704">
            <a:extLst>
              <a:ext uri="{FF2B5EF4-FFF2-40B4-BE49-F238E27FC236}">
                <a16:creationId xmlns:a16="http://schemas.microsoft.com/office/drawing/2014/main" id="{1038B887-4B1E-4FFF-B815-45C25310DF00}"/>
              </a:ext>
            </a:extLst>
          </p:cNvPr>
          <p:cNvCxnSpPr>
            <a:cxnSpLocks/>
            <a:stCxn id="303" idx="1"/>
            <a:endCxn id="298" idx="3"/>
          </p:cNvCxnSpPr>
          <p:nvPr/>
        </p:nvCxnSpPr>
        <p:spPr>
          <a:xfrm rot="10800000" flipV="1">
            <a:off x="6472715" y="3595868"/>
            <a:ext cx="3122680" cy="1323265"/>
          </a:xfrm>
          <a:prstGeom prst="bentConnector3">
            <a:avLst>
              <a:gd name="adj1" fmla="val 84224"/>
            </a:avLst>
          </a:prstGeom>
          <a:noFill/>
          <a:ln w="28575" cap="flat" cmpd="sng" algn="ctr">
            <a:solidFill>
              <a:srgbClr val="00B294"/>
            </a:solidFill>
            <a:prstDash val="solid"/>
            <a:headEnd type="diamond" w="med" len="med"/>
            <a:tailEnd type="triangle" w="med" len="med"/>
          </a:ln>
          <a:effectLst/>
        </p:spPr>
      </p:cxnSp>
      <p:cxnSp>
        <p:nvCxnSpPr>
          <p:cNvPr id="323" name="Straight Arrow Connector 704">
            <a:extLst>
              <a:ext uri="{FF2B5EF4-FFF2-40B4-BE49-F238E27FC236}">
                <a16:creationId xmlns:a16="http://schemas.microsoft.com/office/drawing/2014/main" id="{F8B16B39-A765-4713-BBE7-F55CDA7C4246}"/>
              </a:ext>
            </a:extLst>
          </p:cNvPr>
          <p:cNvCxnSpPr>
            <a:cxnSpLocks/>
            <a:stCxn id="304" idx="1"/>
            <a:endCxn id="299" idx="3"/>
          </p:cNvCxnSpPr>
          <p:nvPr/>
        </p:nvCxnSpPr>
        <p:spPr>
          <a:xfrm rot="10800000" flipV="1">
            <a:off x="6472715" y="4055093"/>
            <a:ext cx="3122680" cy="1771368"/>
          </a:xfrm>
          <a:prstGeom prst="bentConnector3">
            <a:avLst>
              <a:gd name="adj1" fmla="val 84295"/>
            </a:avLst>
          </a:prstGeom>
          <a:noFill/>
          <a:ln w="28575" cap="flat" cmpd="sng" algn="ctr">
            <a:solidFill>
              <a:srgbClr val="00B294"/>
            </a:solidFill>
            <a:prstDash val="solid"/>
            <a:headEnd type="diamond" w="med" len="med"/>
            <a:tailEnd type="triangle" w="med" len="med"/>
          </a:ln>
          <a:effectLst/>
        </p:spPr>
      </p:cxnSp>
      <p:cxnSp>
        <p:nvCxnSpPr>
          <p:cNvPr id="324" name="Straight Arrow Connector 704">
            <a:extLst>
              <a:ext uri="{FF2B5EF4-FFF2-40B4-BE49-F238E27FC236}">
                <a16:creationId xmlns:a16="http://schemas.microsoft.com/office/drawing/2014/main" id="{5469FF22-2737-44F5-AB4F-B0F6D65487BE}"/>
              </a:ext>
            </a:extLst>
          </p:cNvPr>
          <p:cNvCxnSpPr>
            <a:cxnSpLocks/>
            <a:stCxn id="317" idx="1"/>
            <a:endCxn id="297" idx="3"/>
          </p:cNvCxnSpPr>
          <p:nvPr/>
        </p:nvCxnSpPr>
        <p:spPr>
          <a:xfrm rot="10800000">
            <a:off x="6472713" y="4004994"/>
            <a:ext cx="3129938" cy="1260694"/>
          </a:xfrm>
          <a:prstGeom prst="bentConnector3">
            <a:avLst>
              <a:gd name="adj1" fmla="val 91402"/>
            </a:avLst>
          </a:prstGeom>
          <a:noFill/>
          <a:ln w="38100" cap="flat" cmpd="sng" algn="ctr">
            <a:solidFill>
              <a:srgbClr val="737373"/>
            </a:solidFill>
            <a:prstDash val="solid"/>
            <a:headEnd type="diamond" w="med" len="med"/>
            <a:tailEnd type="triangle" w="med" len="med"/>
          </a:ln>
          <a:effectLst/>
        </p:spPr>
      </p:cxnSp>
      <p:sp>
        <p:nvSpPr>
          <p:cNvPr id="325" name="Rectangle 324">
            <a:extLst>
              <a:ext uri="{FF2B5EF4-FFF2-40B4-BE49-F238E27FC236}">
                <a16:creationId xmlns:a16="http://schemas.microsoft.com/office/drawing/2014/main" id="{457152C3-0CAE-4073-8430-9D713DC76740}"/>
              </a:ext>
            </a:extLst>
          </p:cNvPr>
          <p:cNvSpPr/>
          <p:nvPr/>
        </p:nvSpPr>
        <p:spPr bwMode="auto">
          <a:xfrm>
            <a:off x="7115342" y="2554195"/>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a:t>
            </a:r>
          </a:p>
        </p:txBody>
      </p:sp>
      <p:sp>
        <p:nvSpPr>
          <p:cNvPr id="326" name="Rectangle 325">
            <a:extLst>
              <a:ext uri="{FF2B5EF4-FFF2-40B4-BE49-F238E27FC236}">
                <a16:creationId xmlns:a16="http://schemas.microsoft.com/office/drawing/2014/main" id="{D5CC7AE6-30CB-413F-A374-60C9E487D476}"/>
              </a:ext>
            </a:extLst>
          </p:cNvPr>
          <p:cNvSpPr/>
          <p:nvPr/>
        </p:nvSpPr>
        <p:spPr bwMode="auto">
          <a:xfrm>
            <a:off x="7115342" y="4611013"/>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 2</a:t>
            </a:r>
          </a:p>
        </p:txBody>
      </p:sp>
      <p:cxnSp>
        <p:nvCxnSpPr>
          <p:cNvPr id="327" name="Straight Arrow Connector 704">
            <a:extLst>
              <a:ext uri="{FF2B5EF4-FFF2-40B4-BE49-F238E27FC236}">
                <a16:creationId xmlns:a16="http://schemas.microsoft.com/office/drawing/2014/main" id="{808473BE-8557-432B-8308-97B9E05D1B4D}"/>
              </a:ext>
            </a:extLst>
          </p:cNvPr>
          <p:cNvCxnSpPr>
            <a:cxnSpLocks/>
            <a:stCxn id="316" idx="1"/>
            <a:endCxn id="295" idx="3"/>
          </p:cNvCxnSpPr>
          <p:nvPr/>
        </p:nvCxnSpPr>
        <p:spPr>
          <a:xfrm rot="10800000">
            <a:off x="6475709" y="3119448"/>
            <a:ext cx="3123313" cy="1691666"/>
          </a:xfrm>
          <a:prstGeom prst="bentConnector3">
            <a:avLst>
              <a:gd name="adj1" fmla="val 91485"/>
            </a:avLst>
          </a:prstGeom>
          <a:noFill/>
          <a:ln w="38100" cap="flat" cmpd="sng" algn="ctr">
            <a:solidFill>
              <a:srgbClr val="737373"/>
            </a:solidFill>
            <a:prstDash val="solid"/>
            <a:headEnd type="diamond" w="med" len="med"/>
            <a:tailEnd type="triangle" w="med" len="med"/>
          </a:ln>
          <a:effectLst/>
        </p:spPr>
      </p:cxnSp>
      <p:sp>
        <p:nvSpPr>
          <p:cNvPr id="440" name="Title 16">
            <a:extLst>
              <a:ext uri="{FF2B5EF4-FFF2-40B4-BE49-F238E27FC236}">
                <a16:creationId xmlns:a16="http://schemas.microsoft.com/office/drawing/2014/main" id="{CBB39C37-CABE-472C-8E1B-3A69C4833EF4}"/>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Event Hubs Conceptual Architecture</a:t>
            </a:r>
            <a:endPar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5568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a:solidFill>
            <a:schemeClr val="bg2"/>
          </a:solidFill>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549020" y="3460355"/>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002936"/>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01394" y="3769527"/>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3596027">
            <a:off x="10482800" y="3508137"/>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9006225" y="4469560"/>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051701"/>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a:t>
            </a:r>
          </a:p>
        </p:txBody>
      </p:sp>
      <p:cxnSp>
        <p:nvCxnSpPr>
          <p:cNvPr id="96" name="Straight Arrow Connector 95">
            <a:extLst>
              <a:ext uri="{FF2B5EF4-FFF2-40B4-BE49-F238E27FC236}">
                <a16:creationId xmlns:a16="http://schemas.microsoft.com/office/drawing/2014/main" id="{E9CCDAD4-51E6-459D-8D12-A3A1BF635535}"/>
              </a:ext>
            </a:extLst>
          </p:cNvPr>
          <p:cNvCxnSpPr>
            <a:cxnSpLocks/>
            <a:endCxn id="94" idx="1"/>
          </p:cNvCxnSpPr>
          <p:nvPr/>
        </p:nvCxnSpPr>
        <p:spPr>
          <a:xfrm>
            <a:off x="7152754" y="4660333"/>
            <a:ext cx="1853471" cy="113339"/>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377990" y="4635660"/>
            <a:ext cx="983756" cy="12225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661157CB-840C-41DB-9D4A-AE25E34E905A}"/>
              </a:ext>
            </a:extLst>
          </p:cNvPr>
          <p:cNvPicPr>
            <a:picLocks noChangeAspect="1"/>
          </p:cNvPicPr>
          <p:nvPr/>
        </p:nvPicPr>
        <p:blipFill>
          <a:blip r:embed="rId4"/>
          <a:stretch>
            <a:fillRect/>
          </a:stretch>
        </p:blipFill>
        <p:spPr>
          <a:xfrm rot="11434136">
            <a:off x="9409469" y="5199309"/>
            <a:ext cx="132439" cy="355494"/>
          </a:xfrm>
          <a:prstGeom prst="rect">
            <a:avLst/>
          </a:prstGeom>
        </p:spPr>
      </p:pic>
      <p:sp>
        <p:nvSpPr>
          <p:cNvPr id="102" name="TextBox 101">
            <a:extLst>
              <a:ext uri="{FF2B5EF4-FFF2-40B4-BE49-F238E27FC236}">
                <a16:creationId xmlns:a16="http://schemas.microsoft.com/office/drawing/2014/main" id="{C582B2F0-695B-4B62-9618-56BDD817122B}"/>
              </a:ext>
            </a:extLst>
          </p:cNvPr>
          <p:cNvSpPr txBox="1"/>
          <p:nvPr/>
        </p:nvSpPr>
        <p:spPr>
          <a:xfrm>
            <a:off x="8567356" y="5606690"/>
            <a:ext cx="3202031" cy="26497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Active reader of a partition in a consumer group</a:t>
            </a:r>
          </a:p>
        </p:txBody>
      </p:sp>
      <p:sp>
        <p:nvSpPr>
          <p:cNvPr id="44" name="TextBox 43">
            <a:extLst>
              <a:ext uri="{FF2B5EF4-FFF2-40B4-BE49-F238E27FC236}">
                <a16:creationId xmlns:a16="http://schemas.microsoft.com/office/drawing/2014/main" id="{3B09689E-3BE2-46CD-8699-E8610BFF0DE1}"/>
              </a:ext>
            </a:extLst>
          </p:cNvPr>
          <p:cNvSpPr txBox="1"/>
          <p:nvPr/>
        </p:nvSpPr>
        <p:spPr>
          <a:xfrm>
            <a:off x="8567355" y="5864511"/>
            <a:ext cx="3202031" cy="43762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Only 1 active reader at a time per partition per consumer group</a:t>
            </a:r>
          </a:p>
        </p:txBody>
      </p:sp>
      <p:sp>
        <p:nvSpPr>
          <p:cNvPr id="47" name="Title 16">
            <a:extLst>
              <a:ext uri="{FF2B5EF4-FFF2-40B4-BE49-F238E27FC236}">
                <a16:creationId xmlns:a16="http://schemas.microsoft.com/office/drawing/2014/main" id="{C35AEDFA-3B57-422A-89E2-2D35EF005B50}"/>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401935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9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6"/>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9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0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p:bldP spid="12" grpId="0"/>
      <p:bldP spid="13" grpId="0"/>
      <p:bldP spid="14" grpId="0"/>
      <p:bldP spid="64" grpId="0"/>
      <p:bldP spid="83" grpId="0"/>
      <p:bldP spid="91" grpId="0"/>
      <p:bldP spid="92" grpId="0"/>
      <p:bldP spid="95" grpId="0"/>
      <p:bldP spid="102"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361745" y="6345278"/>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690587"/>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87668" y="5943232"/>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9053886">
            <a:off x="11342713" y="5972076"/>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8974970" y="4993115"/>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598707"/>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 (Reader)</a:t>
            </a:r>
          </a:p>
        </p:txBody>
      </p:sp>
      <p:cxnSp>
        <p:nvCxnSpPr>
          <p:cNvPr id="96" name="Straight Arrow Connector 95">
            <a:extLst>
              <a:ext uri="{FF2B5EF4-FFF2-40B4-BE49-F238E27FC236}">
                <a16:creationId xmlns:a16="http://schemas.microsoft.com/office/drawing/2014/main" id="{E9CCDAD4-51E6-459D-8D12-A3A1BF635535}"/>
              </a:ext>
            </a:extLst>
          </p:cNvPr>
          <p:cNvCxnSpPr>
            <a:cxnSpLocks/>
          </p:cNvCxnSpPr>
          <p:nvPr/>
        </p:nvCxnSpPr>
        <p:spPr>
          <a:xfrm>
            <a:off x="7278444" y="4627843"/>
            <a:ext cx="1650604" cy="53908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444242" y="5166924"/>
            <a:ext cx="555647" cy="794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81C38A-F9BB-4761-AB92-258200C39FFD}"/>
              </a:ext>
            </a:extLst>
          </p:cNvPr>
          <p:cNvPicPr>
            <a:picLocks noChangeAspect="1"/>
          </p:cNvPicPr>
          <p:nvPr/>
        </p:nvPicPr>
        <p:blipFill>
          <a:blip r:embed="rId10"/>
          <a:stretch>
            <a:fillRect/>
          </a:stretch>
        </p:blipFill>
        <p:spPr>
          <a:xfrm>
            <a:off x="9693658" y="1594622"/>
            <a:ext cx="1852363" cy="1485701"/>
          </a:xfrm>
          <a:prstGeom prst="rect">
            <a:avLst/>
          </a:prstGeom>
        </p:spPr>
      </p:pic>
      <p:pic>
        <p:nvPicPr>
          <p:cNvPr id="52" name="Picture 51">
            <a:extLst>
              <a:ext uri="{FF2B5EF4-FFF2-40B4-BE49-F238E27FC236}">
                <a16:creationId xmlns:a16="http://schemas.microsoft.com/office/drawing/2014/main" id="{FD0A93CB-C7CE-4C20-8673-E28F1CC678C8}"/>
              </a:ext>
            </a:extLst>
          </p:cNvPr>
          <p:cNvPicPr>
            <a:picLocks noChangeAspect="1"/>
          </p:cNvPicPr>
          <p:nvPr/>
        </p:nvPicPr>
        <p:blipFill>
          <a:blip r:embed="rId3"/>
          <a:stretch>
            <a:fillRect/>
          </a:stretch>
        </p:blipFill>
        <p:spPr>
          <a:xfrm>
            <a:off x="8610124" y="2109661"/>
            <a:ext cx="478470" cy="608225"/>
          </a:xfrm>
          <a:prstGeom prst="rect">
            <a:avLst/>
          </a:prstGeom>
        </p:spPr>
      </p:pic>
      <p:pic>
        <p:nvPicPr>
          <p:cNvPr id="53" name="Picture 52">
            <a:extLst>
              <a:ext uri="{FF2B5EF4-FFF2-40B4-BE49-F238E27FC236}">
                <a16:creationId xmlns:a16="http://schemas.microsoft.com/office/drawing/2014/main" id="{00045E57-1187-4DA8-B3BE-C7E1752E5151}"/>
              </a:ext>
            </a:extLst>
          </p:cNvPr>
          <p:cNvPicPr>
            <a:picLocks noChangeAspect="1"/>
          </p:cNvPicPr>
          <p:nvPr/>
        </p:nvPicPr>
        <p:blipFill>
          <a:blip r:embed="rId3"/>
          <a:stretch>
            <a:fillRect/>
          </a:stretch>
        </p:blipFill>
        <p:spPr>
          <a:xfrm>
            <a:off x="8774163" y="2894039"/>
            <a:ext cx="478470" cy="608225"/>
          </a:xfrm>
          <a:prstGeom prst="rect">
            <a:avLst/>
          </a:prstGeom>
        </p:spPr>
      </p:pic>
      <p:pic>
        <p:nvPicPr>
          <p:cNvPr id="54" name="Picture 53">
            <a:extLst>
              <a:ext uri="{FF2B5EF4-FFF2-40B4-BE49-F238E27FC236}">
                <a16:creationId xmlns:a16="http://schemas.microsoft.com/office/drawing/2014/main" id="{41B2A1F5-3A27-40FA-9CCF-D7936751D37E}"/>
              </a:ext>
            </a:extLst>
          </p:cNvPr>
          <p:cNvPicPr>
            <a:picLocks noChangeAspect="1"/>
          </p:cNvPicPr>
          <p:nvPr/>
        </p:nvPicPr>
        <p:blipFill>
          <a:blip r:embed="rId3"/>
          <a:stretch>
            <a:fillRect/>
          </a:stretch>
        </p:blipFill>
        <p:spPr>
          <a:xfrm>
            <a:off x="9444242" y="3252546"/>
            <a:ext cx="478470" cy="608225"/>
          </a:xfrm>
          <a:prstGeom prst="rect">
            <a:avLst/>
          </a:prstGeom>
        </p:spPr>
      </p:pic>
      <p:pic>
        <p:nvPicPr>
          <p:cNvPr id="55" name="Picture 54">
            <a:extLst>
              <a:ext uri="{FF2B5EF4-FFF2-40B4-BE49-F238E27FC236}">
                <a16:creationId xmlns:a16="http://schemas.microsoft.com/office/drawing/2014/main" id="{B27706C5-9C97-47B9-B780-0C0ECD95AD73}"/>
              </a:ext>
            </a:extLst>
          </p:cNvPr>
          <p:cNvPicPr>
            <a:picLocks noChangeAspect="1"/>
          </p:cNvPicPr>
          <p:nvPr/>
        </p:nvPicPr>
        <p:blipFill>
          <a:blip r:embed="rId3"/>
          <a:stretch>
            <a:fillRect/>
          </a:stretch>
        </p:blipFill>
        <p:spPr>
          <a:xfrm>
            <a:off x="10121825" y="3429835"/>
            <a:ext cx="478470" cy="608225"/>
          </a:xfrm>
          <a:prstGeom prst="rect">
            <a:avLst/>
          </a:prstGeom>
        </p:spPr>
      </p:pic>
      <p:cxnSp>
        <p:nvCxnSpPr>
          <p:cNvPr id="58" name="Straight Arrow Connector 57">
            <a:extLst>
              <a:ext uri="{FF2B5EF4-FFF2-40B4-BE49-F238E27FC236}">
                <a16:creationId xmlns:a16="http://schemas.microsoft.com/office/drawing/2014/main" id="{1460121B-39E1-4976-9F57-C1835CCB8D3C}"/>
              </a:ext>
            </a:extLst>
          </p:cNvPr>
          <p:cNvCxnSpPr>
            <a:cxnSpLocks/>
          </p:cNvCxnSpPr>
          <p:nvPr/>
        </p:nvCxnSpPr>
        <p:spPr>
          <a:xfrm>
            <a:off x="6389549" y="2395022"/>
            <a:ext cx="1979217" cy="10185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0EBBA70-BCAC-43B6-88EB-1526CE9FA529}"/>
              </a:ext>
            </a:extLst>
          </p:cNvPr>
          <p:cNvCxnSpPr>
            <a:cxnSpLocks/>
          </p:cNvCxnSpPr>
          <p:nvPr/>
        </p:nvCxnSpPr>
        <p:spPr>
          <a:xfrm flipV="1">
            <a:off x="6361118" y="3393416"/>
            <a:ext cx="2292072" cy="10008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8E55E12-17AE-4A79-80B6-FEF0E1E7E53F}"/>
              </a:ext>
            </a:extLst>
          </p:cNvPr>
          <p:cNvCxnSpPr>
            <a:cxnSpLocks/>
          </p:cNvCxnSpPr>
          <p:nvPr/>
        </p:nvCxnSpPr>
        <p:spPr>
          <a:xfrm flipV="1">
            <a:off x="7201383" y="3786753"/>
            <a:ext cx="2054183" cy="69944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874AB84-62CC-4618-B551-AED3B15245A5}"/>
              </a:ext>
            </a:extLst>
          </p:cNvPr>
          <p:cNvCxnSpPr>
            <a:cxnSpLocks/>
          </p:cNvCxnSpPr>
          <p:nvPr/>
        </p:nvCxnSpPr>
        <p:spPr>
          <a:xfrm flipV="1">
            <a:off x="6949832" y="4073639"/>
            <a:ext cx="3042790" cy="17278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4DA391E-2090-4A72-8DCA-FAA2B3CCAD65}"/>
              </a:ext>
            </a:extLst>
          </p:cNvPr>
          <p:cNvCxnSpPr>
            <a:cxnSpLocks/>
            <a:stCxn id="52" idx="3"/>
          </p:cNvCxnSpPr>
          <p:nvPr/>
        </p:nvCxnSpPr>
        <p:spPr>
          <a:xfrm flipV="1">
            <a:off x="9088595" y="2109663"/>
            <a:ext cx="834117" cy="30411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2B20E5F-7623-4027-AB93-76D7AC16027E}"/>
              </a:ext>
            </a:extLst>
          </p:cNvPr>
          <p:cNvCxnSpPr>
            <a:cxnSpLocks/>
          </p:cNvCxnSpPr>
          <p:nvPr/>
        </p:nvCxnSpPr>
        <p:spPr>
          <a:xfrm flipV="1">
            <a:off x="9255566" y="2555596"/>
            <a:ext cx="928770" cy="59017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C5EE01C-305E-47F3-9646-87114483688E}"/>
              </a:ext>
            </a:extLst>
          </p:cNvPr>
          <p:cNvCxnSpPr>
            <a:cxnSpLocks/>
          </p:cNvCxnSpPr>
          <p:nvPr/>
        </p:nvCxnSpPr>
        <p:spPr>
          <a:xfrm flipV="1">
            <a:off x="9857697" y="2196336"/>
            <a:ext cx="1169112" cy="125215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36D0429-401D-4428-AEFD-EDE067C931D7}"/>
              </a:ext>
            </a:extLst>
          </p:cNvPr>
          <p:cNvCxnSpPr>
            <a:cxnSpLocks/>
          </p:cNvCxnSpPr>
          <p:nvPr/>
        </p:nvCxnSpPr>
        <p:spPr>
          <a:xfrm flipV="1">
            <a:off x="10538233" y="2685629"/>
            <a:ext cx="340104" cy="95663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2AB0-0741-40A0-913B-9E8C406AAAAC}"/>
              </a:ext>
            </a:extLst>
          </p:cNvPr>
          <p:cNvSpPr txBox="1"/>
          <p:nvPr/>
        </p:nvSpPr>
        <p:spPr>
          <a:xfrm rot="10800000" flipV="1">
            <a:off x="8044144" y="1371345"/>
            <a:ext cx="1871275"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s</a:t>
            </a:r>
          </a:p>
        </p:txBody>
      </p:sp>
      <p:pic>
        <p:nvPicPr>
          <p:cNvPr id="97" name="Picture 96">
            <a:extLst>
              <a:ext uri="{FF2B5EF4-FFF2-40B4-BE49-F238E27FC236}">
                <a16:creationId xmlns:a16="http://schemas.microsoft.com/office/drawing/2014/main" id="{C4AB1D58-9723-4927-BCD2-1F93D5ECCAFC}"/>
              </a:ext>
            </a:extLst>
          </p:cNvPr>
          <p:cNvPicPr>
            <a:picLocks noChangeAspect="1"/>
          </p:cNvPicPr>
          <p:nvPr/>
        </p:nvPicPr>
        <p:blipFill>
          <a:blip r:embed="rId4"/>
          <a:stretch>
            <a:fillRect/>
          </a:stretch>
        </p:blipFill>
        <p:spPr>
          <a:xfrm rot="404310" flipH="1">
            <a:off x="8922941" y="1692437"/>
            <a:ext cx="147281" cy="395333"/>
          </a:xfrm>
          <a:prstGeom prst="rect">
            <a:avLst/>
          </a:prstGeom>
        </p:spPr>
      </p:pic>
      <p:sp>
        <p:nvSpPr>
          <p:cNvPr id="101" name="TextBox 100">
            <a:extLst>
              <a:ext uri="{FF2B5EF4-FFF2-40B4-BE49-F238E27FC236}">
                <a16:creationId xmlns:a16="http://schemas.microsoft.com/office/drawing/2014/main" id="{94F58C76-2ED2-4181-B167-5F1CE640F457}"/>
              </a:ext>
            </a:extLst>
          </p:cNvPr>
          <p:cNvSpPr txBox="1"/>
          <p:nvPr/>
        </p:nvSpPr>
        <p:spPr>
          <a:xfrm>
            <a:off x="9760317" y="1500819"/>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Newspaper</a:t>
            </a:r>
            <a:endParaRPr lang="en-US" sz="1400" b="1" dirty="0">
              <a:solidFill>
                <a:srgbClr val="353535"/>
              </a:solidFill>
              <a:latin typeface="Bradley Hand ITC" panose="03070402050302030203" pitchFamily="66" charset="0"/>
            </a:endParaRPr>
          </a:p>
        </p:txBody>
      </p:sp>
      <p:sp>
        <p:nvSpPr>
          <p:cNvPr id="104" name="TextBox 103">
            <a:extLst>
              <a:ext uri="{FF2B5EF4-FFF2-40B4-BE49-F238E27FC236}">
                <a16:creationId xmlns:a16="http://schemas.microsoft.com/office/drawing/2014/main" id="{2EAEF08C-A623-4ACB-AF73-10A53A19C1F9}"/>
              </a:ext>
            </a:extLst>
          </p:cNvPr>
          <p:cNvSpPr txBox="1"/>
          <p:nvPr/>
        </p:nvSpPr>
        <p:spPr>
          <a:xfrm>
            <a:off x="10115604" y="1051100"/>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2</a:t>
            </a:r>
          </a:p>
        </p:txBody>
      </p:sp>
      <p:pic>
        <p:nvPicPr>
          <p:cNvPr id="105" name="Picture 104">
            <a:extLst>
              <a:ext uri="{FF2B5EF4-FFF2-40B4-BE49-F238E27FC236}">
                <a16:creationId xmlns:a16="http://schemas.microsoft.com/office/drawing/2014/main" id="{103C603A-C40D-4AD2-A620-1D045E9FF574}"/>
              </a:ext>
            </a:extLst>
          </p:cNvPr>
          <p:cNvPicPr>
            <a:picLocks noChangeAspect="1"/>
          </p:cNvPicPr>
          <p:nvPr/>
        </p:nvPicPr>
        <p:blipFill>
          <a:blip r:embed="rId4"/>
          <a:stretch>
            <a:fillRect/>
          </a:stretch>
        </p:blipFill>
        <p:spPr>
          <a:xfrm rot="598702">
            <a:off x="10157011" y="1201423"/>
            <a:ext cx="132439" cy="355494"/>
          </a:xfrm>
          <a:prstGeom prst="rect">
            <a:avLst/>
          </a:prstGeom>
        </p:spPr>
      </p:pic>
      <p:sp>
        <p:nvSpPr>
          <p:cNvPr id="106" name="TextBox 105">
            <a:extLst>
              <a:ext uri="{FF2B5EF4-FFF2-40B4-BE49-F238E27FC236}">
                <a16:creationId xmlns:a16="http://schemas.microsoft.com/office/drawing/2014/main" id="{70BFA7A4-2F19-4F1B-B921-61F098A99ADB}"/>
              </a:ext>
            </a:extLst>
          </p:cNvPr>
          <p:cNvSpPr txBox="1"/>
          <p:nvPr/>
        </p:nvSpPr>
        <p:spPr>
          <a:xfrm rot="10800000" flipV="1">
            <a:off x="7047822" y="1015500"/>
            <a:ext cx="2463016"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Only 1 active reader per partition</a:t>
            </a:r>
          </a:p>
        </p:txBody>
      </p:sp>
      <p:pic>
        <p:nvPicPr>
          <p:cNvPr id="107" name="Picture 106">
            <a:extLst>
              <a:ext uri="{FF2B5EF4-FFF2-40B4-BE49-F238E27FC236}">
                <a16:creationId xmlns:a16="http://schemas.microsoft.com/office/drawing/2014/main" id="{0FE81958-F1DD-4E6B-AD9B-6859E07B1D27}"/>
              </a:ext>
            </a:extLst>
          </p:cNvPr>
          <p:cNvPicPr>
            <a:picLocks noChangeAspect="1"/>
          </p:cNvPicPr>
          <p:nvPr/>
        </p:nvPicPr>
        <p:blipFill>
          <a:blip r:embed="rId4"/>
          <a:stretch>
            <a:fillRect/>
          </a:stretch>
        </p:blipFill>
        <p:spPr>
          <a:xfrm rot="598702">
            <a:off x="8582430" y="1236594"/>
            <a:ext cx="132439" cy="355494"/>
          </a:xfrm>
          <a:prstGeom prst="rect">
            <a:avLst/>
          </a:prstGeom>
        </p:spPr>
      </p:pic>
      <p:sp>
        <p:nvSpPr>
          <p:cNvPr id="82" name="Title 16">
            <a:extLst>
              <a:ext uri="{FF2B5EF4-FFF2-40B4-BE49-F238E27FC236}">
                <a16:creationId xmlns:a16="http://schemas.microsoft.com/office/drawing/2014/main" id="{DA0B6A93-B987-4D90-B883-121DA6EE9729}"/>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38761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101" grpId="0"/>
      <p:bldP spid="104" grpId="0"/>
      <p:bldP spid="10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dirty="0"/>
              <a:t>Data organization mechanism</a:t>
            </a:r>
          </a:p>
          <a:p>
            <a:r>
              <a:rPr lang="en-US" dirty="0"/>
              <a:t>Specified at creation – NOT CHANGABLE</a:t>
            </a:r>
          </a:p>
          <a:p>
            <a:r>
              <a:rPr lang="en-US" dirty="0"/>
              <a:t>Between 2 and 32, default is 2 (32 is soft limit)</a:t>
            </a:r>
          </a:p>
          <a:p>
            <a:endParaRPr lang="en-US" dirty="0"/>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2"/>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6">
            <a:extLst>
              <a:ext uri="{FF2B5EF4-FFF2-40B4-BE49-F238E27FC236}">
                <a16:creationId xmlns:a16="http://schemas.microsoft.com/office/drawing/2014/main" id="{077C05AD-7848-4527-ACC0-137716851B85}"/>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ow does Event Hubs Scale</a:t>
            </a:r>
          </a:p>
        </p:txBody>
      </p:sp>
      <p:sp>
        <p:nvSpPr>
          <p:cNvPr id="11" name="Text Placeholder 5">
            <a:extLst>
              <a:ext uri="{FF2B5EF4-FFF2-40B4-BE49-F238E27FC236}">
                <a16:creationId xmlns:a16="http://schemas.microsoft.com/office/drawing/2014/main" id="{FD1D4B2B-E8C5-425E-95C9-F9AA624490F0}"/>
              </a:ext>
            </a:extLst>
          </p:cNvPr>
          <p:cNvSpPr txBox="1">
            <a:spLocks/>
          </p:cNvSpPr>
          <p:nvPr/>
        </p:nvSpPr>
        <p:spPr>
          <a:xfrm>
            <a:off x="274638" y="1212850"/>
            <a:ext cx="7619999" cy="645099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roughput Unit (TU)</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ariable reserved capacity</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is is the component you purchase</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MB/s or 1,000 events/s in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2 MB/s or 2,000 events/s e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Namespace wide – across Event Hub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Overages are throttled (</a:t>
            </a:r>
            <a:r>
              <a:rPr kumimoji="0" lang="en-US" sz="2400" b="1" i="0" u="none" strike="noStrike" kern="1200" cap="none" spc="0" normalizeH="0" baseline="0" noProof="0" dirty="0" err="1">
                <a:ln>
                  <a:noFill/>
                </a:ln>
                <a:gradFill>
                  <a:gsLst>
                    <a:gs pos="1250">
                      <a:srgbClr val="353535"/>
                    </a:gs>
                    <a:gs pos="100000">
                      <a:srgbClr val="353535"/>
                    </a:gs>
                  </a:gsLst>
                  <a:lin ang="5400000" scaled="0"/>
                </a:gradFill>
                <a:effectLst/>
                <a:uLnTx/>
                <a:uFillTx/>
                <a:latin typeface="Segoe UI Light"/>
                <a:ea typeface="+mn-ea"/>
                <a:cs typeface="+mn-cs"/>
              </a:rPr>
              <a:t>ServerBusyException</a:t>
            </a: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vailable in</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 20 TUs hourly</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Blocks of 20 up to 100 with support ticket</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dditional options?</a:t>
            </a:r>
          </a:p>
          <a:p>
            <a:pPr marL="457200" indent="-4572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Should be less than or equal to the number of partitions</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2" name="Picture 11">
            <a:extLst>
              <a:ext uri="{FF2B5EF4-FFF2-40B4-BE49-F238E27FC236}">
                <a16:creationId xmlns:a16="http://schemas.microsoft.com/office/drawing/2014/main" id="{B588F22A-A59A-4D5F-B7D5-3A44A89EC385}"/>
              </a:ext>
            </a:extLst>
          </p:cNvPr>
          <p:cNvPicPr>
            <a:picLocks noChangeAspect="1"/>
          </p:cNvPicPr>
          <p:nvPr/>
        </p:nvPicPr>
        <p:blipFill>
          <a:blip r:embed="rId2"/>
          <a:stretch>
            <a:fillRect/>
          </a:stretch>
        </p:blipFill>
        <p:spPr>
          <a:xfrm>
            <a:off x="7132637" y="1973262"/>
            <a:ext cx="4876800" cy="34262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65352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sp>
        <p:nvSpPr>
          <p:cNvPr id="4" name="Text Placeholder 1"/>
          <p:cNvSpPr>
            <a:spLocks noGrp="1"/>
          </p:cNvSpPr>
          <p:nvPr>
            <p:ph type="body" sz="quarter" idx="10"/>
          </p:nvPr>
        </p:nvSpPr>
        <p:spPr>
          <a:xfrm>
            <a:off x="269239" y="1189495"/>
            <a:ext cx="11653523" cy="2715537"/>
          </a:xfrm>
        </p:spPr>
        <p:txBody>
          <a:bodyPr/>
          <a:lstStyle/>
          <a:p>
            <a:endParaRPr lang="en-US" dirty="0"/>
          </a:p>
          <a:p>
            <a:r>
              <a:rPr lang="en-US" dirty="0"/>
              <a:t>Enables authentication to the service</a:t>
            </a:r>
          </a:p>
          <a:p>
            <a:r>
              <a:rPr lang="en-US" dirty="0"/>
              <a:t>Configuration of permissions</a:t>
            </a:r>
          </a:p>
          <a:p>
            <a:endParaRPr lang="en-US" dirty="0"/>
          </a:p>
        </p:txBody>
      </p:sp>
      <p:pic>
        <p:nvPicPr>
          <p:cNvPr id="3" name="Picture 2">
            <a:extLst>
              <a:ext uri="{FF2B5EF4-FFF2-40B4-BE49-F238E27FC236}">
                <a16:creationId xmlns:a16="http://schemas.microsoft.com/office/drawing/2014/main" id="{843F0D72-FEA1-44D8-AFB0-69E3F85340A3}"/>
              </a:ext>
            </a:extLst>
          </p:cNvPr>
          <p:cNvPicPr>
            <a:picLocks noChangeAspect="1"/>
          </p:cNvPicPr>
          <p:nvPr/>
        </p:nvPicPr>
        <p:blipFill>
          <a:blip r:embed="rId3"/>
          <a:stretch>
            <a:fillRect/>
          </a:stretch>
        </p:blipFill>
        <p:spPr>
          <a:xfrm>
            <a:off x="7239073" y="182215"/>
            <a:ext cx="4410075" cy="6448425"/>
          </a:xfrm>
          <a:prstGeom prst="rect">
            <a:avLst/>
          </a:prstGeom>
        </p:spPr>
      </p:pic>
      <p:sp>
        <p:nvSpPr>
          <p:cNvPr id="5" name="Rectangle 4">
            <a:extLst>
              <a:ext uri="{FF2B5EF4-FFF2-40B4-BE49-F238E27FC236}">
                <a16:creationId xmlns:a16="http://schemas.microsoft.com/office/drawing/2014/main" id="{F188545D-35B0-4787-8B20-F8CE27110475}"/>
              </a:ext>
            </a:extLst>
          </p:cNvPr>
          <p:cNvSpPr/>
          <p:nvPr/>
        </p:nvSpPr>
        <p:spPr>
          <a:xfrm>
            <a:off x="379514" y="4094926"/>
            <a:ext cx="6096000" cy="1477328"/>
          </a:xfrm>
          <a:prstGeom prst="rect">
            <a:avLst/>
          </a:prstGeom>
        </p:spPr>
        <p:txBody>
          <a:bodyPr>
            <a:spAutoFit/>
          </a:bodyPr>
          <a:lstStyle/>
          <a:p>
            <a:r>
              <a:rPr lang="en-US" dirty="0"/>
              <a:t>Example Connection String: </a:t>
            </a:r>
          </a:p>
          <a:p>
            <a:r>
              <a:rPr lang="en-US" dirty="0"/>
              <a:t>Endpoint=sb://andyrob-ns.servicebus.windows.net/;</a:t>
            </a:r>
            <a:r>
              <a:rPr lang="en-US" dirty="0">
                <a:highlight>
                  <a:srgbClr val="FFFF00"/>
                </a:highlight>
              </a:rPr>
              <a:t>SharedAccessKeyName=reader</a:t>
            </a:r>
            <a:r>
              <a:rPr lang="en-US" dirty="0"/>
              <a:t>;SharedAccessKey=XXXXXXXXXXXXXXXXXXXXXXXXXXX=;</a:t>
            </a:r>
            <a:r>
              <a:rPr lang="en-US" dirty="0">
                <a:highlight>
                  <a:srgbClr val="FFFF00"/>
                </a:highlight>
              </a:rPr>
              <a:t>EntityPath=andyrob-eh</a:t>
            </a:r>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dirty="0"/>
              <a:t>static void </a:t>
            </a:r>
            <a:r>
              <a:rPr lang="en-US" sz="1400" dirty="0" err="1"/>
              <a:t>SendingRandomMessages</a:t>
            </a:r>
            <a:r>
              <a:rPr lang="en-US" sz="1400" dirty="0"/>
              <a:t>()</a:t>
            </a:r>
          </a:p>
          <a:p>
            <a:pPr marL="0" indent="0">
              <a:spcBef>
                <a:spcPts val="0"/>
              </a:spcBef>
              <a:buNone/>
            </a:pPr>
            <a:r>
              <a:rPr lang="en-US" sz="1400" dirty="0"/>
              <a:t>{</a:t>
            </a:r>
          </a:p>
          <a:p>
            <a:pPr marL="0" indent="0">
              <a:spcBef>
                <a:spcPts val="0"/>
              </a:spcBef>
              <a:buNone/>
            </a:pPr>
            <a:r>
              <a:rPr lang="en-US" sz="1400" dirty="0"/>
              <a:t>    </a:t>
            </a:r>
            <a:r>
              <a:rPr lang="en-US" sz="1400" dirty="0" err="1"/>
              <a:t>var</a:t>
            </a:r>
            <a:r>
              <a:rPr lang="en-US" sz="1400" dirty="0"/>
              <a:t> </a:t>
            </a:r>
            <a:r>
              <a:rPr lang="en-US" sz="1400" dirty="0" err="1"/>
              <a:t>eventHubClient</a:t>
            </a:r>
            <a:r>
              <a:rPr lang="en-US" sz="1400" dirty="0"/>
              <a:t> = </a:t>
            </a:r>
            <a:r>
              <a:rPr lang="en-US" sz="1400" dirty="0" err="1"/>
              <a:t>EventHubClient.CreateFromConnectionString</a:t>
            </a:r>
            <a:r>
              <a:rPr lang="en-US" sz="1400" dirty="0"/>
              <a:t>(</a:t>
            </a:r>
            <a:r>
              <a:rPr lang="en-US" sz="1400" dirty="0" err="1"/>
              <a:t>connectionString</a:t>
            </a:r>
            <a:r>
              <a:rPr lang="en-US" sz="1400" dirty="0"/>
              <a:t>, </a:t>
            </a:r>
            <a:r>
              <a:rPr lang="en-US" sz="1400" dirty="0" err="1"/>
              <a:t>eventHubName</a:t>
            </a:r>
            <a:r>
              <a:rPr lang="en-US" sz="1400" dirty="0"/>
              <a:t>);</a:t>
            </a:r>
          </a:p>
          <a:p>
            <a:pPr marL="0" indent="0">
              <a:spcBef>
                <a:spcPts val="0"/>
              </a:spcBef>
              <a:buNone/>
            </a:pPr>
            <a:r>
              <a:rPr lang="en-US" sz="1400" dirty="0"/>
              <a:t>    while (true)</a:t>
            </a:r>
          </a:p>
          <a:p>
            <a:pPr marL="0" indent="0">
              <a:spcBef>
                <a:spcPts val="0"/>
              </a:spcBef>
              <a:buNone/>
            </a:pPr>
            <a:r>
              <a:rPr lang="en-US" sz="1400" dirty="0"/>
              <a:t>    {</a:t>
            </a:r>
          </a:p>
          <a:p>
            <a:pPr marL="0" indent="0">
              <a:spcBef>
                <a:spcPts val="0"/>
              </a:spcBef>
              <a:buNone/>
            </a:pPr>
            <a:r>
              <a:rPr lang="en-US" sz="1400" dirty="0"/>
              <a:t>        try</a:t>
            </a:r>
          </a:p>
          <a:p>
            <a:pPr marL="0" indent="0">
              <a:spcBef>
                <a:spcPts val="0"/>
              </a:spcBef>
              <a:buNone/>
            </a:pPr>
            <a:r>
              <a:rPr lang="en-US" sz="1400" dirty="0"/>
              <a:t>        {</a:t>
            </a:r>
          </a:p>
          <a:p>
            <a:pPr marL="0" indent="0">
              <a:spcBef>
                <a:spcPts val="0"/>
              </a:spcBef>
              <a:buNone/>
            </a:pPr>
            <a:r>
              <a:rPr lang="en-US" sz="1400" dirty="0"/>
              <a:t>            </a:t>
            </a:r>
            <a:r>
              <a:rPr lang="en-US" sz="1400" dirty="0" err="1"/>
              <a:t>var</a:t>
            </a:r>
            <a:r>
              <a:rPr lang="en-US" sz="1400" dirty="0"/>
              <a:t> message = </a:t>
            </a:r>
            <a:r>
              <a:rPr lang="en-US" sz="1400" dirty="0" err="1"/>
              <a:t>Guid.NewGuid</a:t>
            </a:r>
            <a:r>
              <a:rPr lang="en-US" sz="1400" dirty="0"/>
              <a:t>().</a:t>
            </a:r>
            <a:r>
              <a:rPr lang="en-US" sz="1400" dirty="0" err="1"/>
              <a:t>ToString</a:t>
            </a:r>
            <a:r>
              <a:rPr lang="en-US" sz="1400" dirty="0"/>
              <a:t>();</a:t>
            </a:r>
          </a:p>
          <a:p>
            <a:pPr marL="0" indent="0">
              <a:spcBef>
                <a:spcPts val="0"/>
              </a:spcBef>
              <a:buNone/>
            </a:pPr>
            <a:r>
              <a:rPr lang="en-US" sz="1400" dirty="0"/>
              <a:t>            </a:t>
            </a:r>
            <a:r>
              <a:rPr lang="en-US" sz="1400" dirty="0" err="1"/>
              <a:t>Console.WriteLine</a:t>
            </a:r>
            <a:r>
              <a:rPr lang="en-US" sz="1400" dirty="0"/>
              <a:t>("{0} &gt; Sending message: {1}", </a:t>
            </a:r>
            <a:r>
              <a:rPr lang="en-US" sz="1400" dirty="0" err="1"/>
              <a:t>DateTime.Now</a:t>
            </a:r>
            <a:r>
              <a:rPr lang="en-US" sz="1400" dirty="0"/>
              <a:t>, message);</a:t>
            </a:r>
          </a:p>
          <a:p>
            <a:pPr marL="0" indent="0">
              <a:spcBef>
                <a:spcPts val="0"/>
              </a:spcBef>
              <a:buNone/>
            </a:pPr>
            <a:r>
              <a:rPr lang="en-US" sz="1400" dirty="0"/>
              <a:t>            </a:t>
            </a:r>
            <a:r>
              <a:rPr lang="en-US" sz="1400" dirty="0" err="1"/>
              <a:t>eventHubClient.Send</a:t>
            </a:r>
            <a:r>
              <a:rPr lang="en-US" sz="1400" dirty="0"/>
              <a:t>(new </a:t>
            </a:r>
            <a:r>
              <a:rPr lang="en-US" sz="1400" dirty="0" err="1"/>
              <a:t>EventData</a:t>
            </a:r>
            <a:r>
              <a:rPr lang="en-US" sz="1400" dirty="0"/>
              <a:t>(Encoding.UTF8.GetBytes(message)));</a:t>
            </a:r>
          </a:p>
          <a:p>
            <a:pPr marL="0" indent="0">
              <a:spcBef>
                <a:spcPts val="0"/>
              </a:spcBef>
              <a:buNone/>
            </a:pPr>
            <a:r>
              <a:rPr lang="en-US" sz="1400" dirty="0"/>
              <a:t>        }</a:t>
            </a:r>
          </a:p>
          <a:p>
            <a:pPr marL="0" indent="0">
              <a:spcBef>
                <a:spcPts val="0"/>
              </a:spcBef>
              <a:buNone/>
            </a:pPr>
            <a:r>
              <a:rPr lang="en-US" sz="1400" dirty="0"/>
              <a:t>        catch (Exception exception)</a:t>
            </a:r>
          </a:p>
          <a:p>
            <a:pPr marL="0" indent="0">
              <a:spcBef>
                <a:spcPts val="0"/>
              </a:spcBef>
              <a:buNone/>
            </a:pPr>
            <a:r>
              <a:rPr lang="en-US" sz="1400" dirty="0"/>
              <a:t>        {</a:t>
            </a:r>
          </a:p>
          <a:p>
            <a:pPr marL="0" indent="0">
              <a:spcBef>
                <a:spcPts val="0"/>
              </a:spcBef>
              <a:buNone/>
            </a:pPr>
            <a:r>
              <a:rPr lang="en-US" sz="1400" dirty="0"/>
              <a:t>            </a:t>
            </a:r>
            <a:r>
              <a:rPr lang="en-US" sz="1400" dirty="0" err="1"/>
              <a:t>Console.ForegroundColor</a:t>
            </a:r>
            <a:r>
              <a:rPr lang="en-US" sz="1400" dirty="0"/>
              <a:t> = </a:t>
            </a:r>
            <a:r>
              <a:rPr lang="en-US" sz="1400" dirty="0" err="1"/>
              <a:t>ConsoleColor.Red</a:t>
            </a:r>
            <a:r>
              <a:rPr lang="en-US" sz="1400" dirty="0"/>
              <a:t>;</a:t>
            </a:r>
          </a:p>
          <a:p>
            <a:pPr marL="0" indent="0">
              <a:spcBef>
                <a:spcPts val="0"/>
              </a:spcBef>
              <a:buNone/>
            </a:pPr>
            <a:r>
              <a:rPr lang="en-US" sz="1400" dirty="0"/>
              <a:t>            </a:t>
            </a:r>
            <a:r>
              <a:rPr lang="en-US" sz="1400" dirty="0" err="1"/>
              <a:t>Console.WriteLine</a:t>
            </a:r>
            <a:r>
              <a:rPr lang="en-US" sz="1400" dirty="0"/>
              <a:t>("{0} &gt; Exception: {1}", </a:t>
            </a:r>
            <a:r>
              <a:rPr lang="en-US" sz="1400" dirty="0" err="1"/>
              <a:t>DateTime.Now</a:t>
            </a:r>
            <a:r>
              <a:rPr lang="en-US" sz="1400" dirty="0"/>
              <a:t>, </a:t>
            </a:r>
            <a:r>
              <a:rPr lang="en-US" sz="1400" dirty="0" err="1"/>
              <a:t>exception.Message</a:t>
            </a:r>
            <a:r>
              <a:rPr lang="en-US" sz="1400" dirty="0"/>
              <a:t>);</a:t>
            </a:r>
          </a:p>
          <a:p>
            <a:pPr marL="0" indent="0">
              <a:spcBef>
                <a:spcPts val="0"/>
              </a:spcBef>
              <a:buNone/>
            </a:pPr>
            <a:r>
              <a:rPr lang="en-US" sz="1400" dirty="0"/>
              <a:t>            </a:t>
            </a:r>
            <a:r>
              <a:rPr lang="en-US" sz="1400" dirty="0" err="1"/>
              <a:t>Console.ResetColor</a:t>
            </a:r>
            <a:r>
              <a:rPr lang="en-US" sz="1400" dirty="0"/>
              <a:t>();</a:t>
            </a:r>
          </a:p>
          <a:p>
            <a:pPr marL="0" indent="0">
              <a:spcBef>
                <a:spcPts val="0"/>
              </a:spcBef>
              <a:buNone/>
            </a:pPr>
            <a:r>
              <a:rPr lang="en-US" sz="1400" dirty="0"/>
              <a:t>        }</a:t>
            </a:r>
          </a:p>
          <a:p>
            <a:pPr marL="0" indent="0">
              <a:spcBef>
                <a:spcPts val="0"/>
              </a:spcBef>
              <a:buNone/>
            </a:pPr>
            <a:endParaRPr lang="en-US" sz="1400" dirty="0"/>
          </a:p>
          <a:p>
            <a:pPr marL="0" indent="0">
              <a:spcBef>
                <a:spcPts val="0"/>
              </a:spcBef>
              <a:buNone/>
            </a:pPr>
            <a:r>
              <a:rPr lang="en-US" sz="1400" dirty="0"/>
              <a:t>        </a:t>
            </a:r>
            <a:r>
              <a:rPr lang="en-US" sz="1400" dirty="0" err="1"/>
              <a:t>Thread.Sleep</a:t>
            </a:r>
            <a:r>
              <a:rPr lang="en-US" sz="1400" dirty="0"/>
              <a:t>(200);</a:t>
            </a:r>
          </a:p>
          <a:p>
            <a:pPr marL="0" indent="0">
              <a:spcBef>
                <a:spcPts val="0"/>
              </a:spcBef>
              <a:buNone/>
            </a:pPr>
            <a:r>
              <a:rPr lang="en-US" sz="1400" dirty="0"/>
              <a:t>    }</a:t>
            </a:r>
          </a:p>
          <a:p>
            <a:pPr marL="0" indent="0">
              <a:spcBef>
                <a:spcPts val="0"/>
              </a:spcBef>
              <a:buNone/>
            </a:pPr>
            <a:r>
              <a:rPr lang="en-US" sz="1400" dirty="0"/>
              <a:t>}</a:t>
            </a:r>
          </a:p>
          <a:p>
            <a:pPr marL="0" indent="0">
              <a:buNone/>
            </a:pPr>
            <a:endParaRPr lang="en-US" sz="1176" dirty="0"/>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798864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dirty="0"/>
          </a:p>
          <a:p>
            <a:r>
              <a:rPr lang="en-US" dirty="0"/>
              <a:t>Topic: Category or feed name</a:t>
            </a:r>
          </a:p>
          <a:p>
            <a:r>
              <a:rPr lang="en-US" dirty="0"/>
              <a:t>Log: partition within a topic</a:t>
            </a:r>
          </a:p>
          <a:p>
            <a:endParaRPr lang="en-US" dirty="0"/>
          </a:p>
          <a:p>
            <a:endParaRPr lang="en-US" dirty="0"/>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dirty="0"/>
              <a:t>Partitions are distributed over configurable number of servers     (1 leader and n followers)</a:t>
            </a:r>
          </a:p>
          <a:p>
            <a:r>
              <a:rPr lang="en-US" dirty="0"/>
              <a:t>Producer is responsible for assigning messages to partitions</a:t>
            </a:r>
          </a:p>
          <a:p>
            <a:pPr lvl="1"/>
            <a:r>
              <a:rPr lang="en-US" dirty="0"/>
              <a:t>Round robin</a:t>
            </a:r>
          </a:p>
          <a:p>
            <a:pPr lvl="1"/>
            <a:r>
              <a:rPr lang="en-US" dirty="0"/>
              <a:t>Semantic partition function</a:t>
            </a:r>
          </a:p>
          <a:p>
            <a:pPr lvl="1"/>
            <a:endParaRPr lang="en-US" dirty="0"/>
          </a:p>
          <a:p>
            <a:r>
              <a:rPr lang="en-US" dirty="0"/>
              <a:t>Each consumer belongs to a consumer group</a:t>
            </a:r>
          </a:p>
          <a:p>
            <a:r>
              <a:rPr lang="en-US" dirty="0"/>
              <a:t>Each partition can have multiple consumer groups</a:t>
            </a:r>
          </a:p>
          <a:p>
            <a:endParaRPr lang="en-US" dirty="0"/>
          </a:p>
          <a:p>
            <a:endParaRPr lang="en-US" dirty="0"/>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2"/>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910215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dirty="0"/>
              <a:t>Nimbus</a:t>
            </a:r>
          </a:p>
          <a:p>
            <a:pPr lvl="1"/>
            <a:r>
              <a:rPr lang="en-US" dirty="0"/>
              <a:t>Master Node</a:t>
            </a:r>
          </a:p>
          <a:p>
            <a:pPr lvl="1"/>
            <a:r>
              <a:rPr lang="en-US" dirty="0"/>
              <a:t>Responsible for distributing code around the cluster, assigning tasks to machines, and monitoring for failures</a:t>
            </a:r>
          </a:p>
          <a:p>
            <a:r>
              <a:rPr lang="en-US" dirty="0"/>
              <a:t>Supervisor</a:t>
            </a:r>
          </a:p>
          <a:p>
            <a:pPr lvl="1"/>
            <a:r>
              <a:rPr lang="en-US" dirty="0"/>
              <a:t>Worker Node</a:t>
            </a:r>
          </a:p>
          <a:p>
            <a:pPr lvl="1"/>
            <a:r>
              <a:rPr lang="en-US" dirty="0"/>
              <a:t>Listens for work assigned to its machine and starts and stops worker processes</a:t>
            </a:r>
          </a:p>
          <a:p>
            <a:pPr lvl="1"/>
            <a:r>
              <a:rPr lang="en-US" dirty="0"/>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dirty="0"/>
              <a:t>Topology</a:t>
            </a:r>
          </a:p>
          <a:p>
            <a:pPr lvl="1"/>
            <a:r>
              <a:rPr lang="en-US" dirty="0"/>
              <a:t>Defines a graph of computation that processes streams of data. Unlike MapReduce jobs, topologies run until you stop them.</a:t>
            </a:r>
          </a:p>
          <a:p>
            <a:r>
              <a:rPr lang="en-US" dirty="0"/>
              <a:t>Spout</a:t>
            </a:r>
          </a:p>
          <a:p>
            <a:pPr lvl="1"/>
            <a:r>
              <a:rPr lang="en-US" dirty="0"/>
              <a:t>Consumes data from a data source and emits one or more streams.</a:t>
            </a:r>
          </a:p>
          <a:p>
            <a:r>
              <a:rPr lang="en-US" dirty="0"/>
              <a:t>Bolt</a:t>
            </a:r>
          </a:p>
          <a:p>
            <a:pPr lvl="1"/>
            <a:r>
              <a:rPr lang="en-US" dirty="0"/>
              <a:t>Consumes streams, performs processing, and may emit streams for further processing. </a:t>
            </a:r>
          </a:p>
          <a:p>
            <a:pPr lvl="1"/>
            <a:r>
              <a:rPr lang="en-US" dirty="0"/>
              <a:t>Responsible for writing data to external storage, HDInsight HBase, a blob, or other data store</a:t>
            </a:r>
          </a:p>
          <a:p>
            <a:pPr lvl="1"/>
            <a:endParaRPr lang="en-US" dirty="0"/>
          </a:p>
          <a:p>
            <a:pPr marL="457112" lvl="1" indent="0">
              <a:buNone/>
            </a:pPr>
            <a:endParaRPr lang="en-US" dirty="0"/>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dirty="0"/>
              <a:t>Objects Needed</a:t>
            </a:r>
          </a:p>
          <a:p>
            <a:pPr lvl="1"/>
            <a:r>
              <a:rPr lang="en-US" dirty="0" err="1"/>
              <a:t>TopologyBuilder</a:t>
            </a:r>
            <a:endParaRPr lang="en-US" dirty="0"/>
          </a:p>
          <a:p>
            <a:pPr lvl="1"/>
            <a:r>
              <a:rPr lang="en-US" dirty="0" err="1"/>
              <a:t>setSpout</a:t>
            </a:r>
            <a:r>
              <a:rPr lang="en-US" dirty="0"/>
              <a:t>/</a:t>
            </a:r>
            <a:r>
              <a:rPr lang="en-US" dirty="0" err="1"/>
              <a:t>setBolt</a:t>
            </a:r>
            <a:endParaRPr lang="en-US" dirty="0"/>
          </a:p>
          <a:p>
            <a:pPr lvl="2"/>
            <a:r>
              <a:rPr lang="en-US" dirty="0" err="1"/>
              <a:t>Shufflegrouping</a:t>
            </a:r>
            <a:endParaRPr lang="en-US" dirty="0"/>
          </a:p>
          <a:p>
            <a:pPr lvl="1"/>
            <a:r>
              <a:rPr lang="en-US" dirty="0"/>
              <a:t>Cluster config</a:t>
            </a:r>
          </a:p>
          <a:p>
            <a:pPr lvl="1"/>
            <a:r>
              <a:rPr lang="en-US" dirty="0"/>
              <a:t>Cluster</a:t>
            </a:r>
          </a:p>
          <a:p>
            <a:pPr lvl="1"/>
            <a:endParaRPr lang="en-US" dirty="0"/>
          </a:p>
          <a:p>
            <a:pPr lvl="1"/>
            <a:endParaRPr lang="en-US" dirty="0"/>
          </a:p>
          <a:p>
            <a:pPr marL="457112" lvl="1" indent="0">
              <a:buNone/>
            </a:pPr>
            <a:endParaRPr lang="en-US" dirty="0"/>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dirty="0"/>
              <a:t>Spout</a:t>
            </a:r>
          </a:p>
          <a:p>
            <a:pPr lvl="1"/>
            <a:r>
              <a:rPr lang="en-US" dirty="0"/>
              <a:t>Consumes data from a data source and emits one or more streams.</a:t>
            </a:r>
          </a:p>
          <a:p>
            <a:pPr lvl="1"/>
            <a:endParaRPr lang="en-US" dirty="0"/>
          </a:p>
          <a:p>
            <a:pPr marL="457112" lvl="1" indent="0">
              <a:buNone/>
            </a:pPr>
            <a:endParaRPr lang="en-US" dirty="0"/>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65885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453332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dirty="0"/>
              <a:t>Consumer Groups</a:t>
            </a:r>
          </a:p>
          <a:p>
            <a:pPr lvl="1"/>
            <a:r>
              <a:rPr lang="en-US" sz="1765" dirty="0"/>
              <a:t>One per input</a:t>
            </a:r>
          </a:p>
          <a:p>
            <a:r>
              <a:rPr lang="en-US" dirty="0"/>
              <a:t>Inputs</a:t>
            </a:r>
          </a:p>
          <a:p>
            <a:pPr lvl="1"/>
            <a:r>
              <a:rPr lang="en-US" sz="1765" dirty="0"/>
              <a:t>Blob storage</a:t>
            </a:r>
          </a:p>
          <a:p>
            <a:pPr lvl="1"/>
            <a:r>
              <a:rPr lang="en-US" sz="1765" dirty="0"/>
              <a:t>Event Hubs</a:t>
            </a:r>
          </a:p>
          <a:p>
            <a:pPr lvl="1"/>
            <a:r>
              <a:rPr lang="en-US" sz="1765" dirty="0"/>
              <a:t>IoT Hubs</a:t>
            </a:r>
          </a:p>
          <a:p>
            <a:r>
              <a:rPr lang="en-US" dirty="0"/>
              <a:t>Query</a:t>
            </a:r>
          </a:p>
          <a:p>
            <a:pPr lvl="1"/>
            <a:r>
              <a:rPr lang="en-US" sz="1765" dirty="0"/>
              <a:t>SQL-Like Language  - </a:t>
            </a:r>
            <a:r>
              <a:rPr lang="en-US" sz="1765" dirty="0">
                <a:hlinkClick r:id="rId3"/>
              </a:rPr>
              <a:t>https://azure.microsoft.com/en-us/documentation/articles/stream-analytics-stream-analytics-query-patterns/</a:t>
            </a:r>
            <a:r>
              <a:rPr lang="en-US" sz="1765" dirty="0"/>
              <a:t> </a:t>
            </a:r>
          </a:p>
          <a:p>
            <a:r>
              <a:rPr lang="en-US" dirty="0"/>
              <a:t>Outputs</a:t>
            </a:r>
          </a:p>
          <a:p>
            <a:pPr lvl="1"/>
            <a:r>
              <a:rPr lang="en-US" sz="1765" dirty="0"/>
              <a:t>Azure Data Lake Store</a:t>
            </a:r>
          </a:p>
          <a:p>
            <a:pPr lvl="1"/>
            <a:r>
              <a:rPr lang="en-US" sz="1765" dirty="0"/>
              <a:t>SQL DB</a:t>
            </a:r>
          </a:p>
          <a:p>
            <a:pPr lvl="1"/>
            <a:r>
              <a:rPr lang="en-US" sz="1765" dirty="0"/>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 y="487"/>
            <a:ext cx="5199576" cy="6857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1" name="Text Placeholder 3"/>
          <p:cNvSpPr txBox="1">
            <a:spLocks noGrp="1"/>
          </p:cNvSpPr>
          <p:nvPr>
            <p:ph type="body" sz="quarter" idx="11"/>
          </p:nvPr>
        </p:nvSpPr>
        <p:spPr>
          <a:xfrm>
            <a:off x="5925833" y="609584"/>
            <a:ext cx="3221915" cy="1638374"/>
          </a:xfrm>
          <a:prstGeom prst="rect">
            <a:avLst/>
          </a:prstGeom>
          <a:noFill/>
        </p:spPr>
        <p:txBody>
          <a:bodyPr vert="horz" wrap="square" lIns="0" tIns="0" rIns="0" bIns="0" numCol="1" rtlCol="0" anchor="t" anchorCtr="0" compatLnSpc="1">
            <a:prstTxWarp prst="textNoShape">
              <a:avLst/>
            </a:prstTxWarp>
            <a:spAutoFit/>
          </a:bodyPr>
          <a:lstStyle/>
          <a:p>
            <a:pPr defTabSz="914225"/>
            <a:r>
              <a:rPr lang="EN-US" sz="1765" b="1" spc="-71">
                <a:gradFill>
                  <a:gsLst>
                    <a:gs pos="2917">
                      <a:schemeClr val="tx1"/>
                    </a:gs>
                    <a:gs pos="30000">
                      <a:schemeClr val="tx1"/>
                    </a:gs>
                  </a:gsLst>
                  <a:lin ang="5400000" scaled="0"/>
                </a:gradFill>
                <a:latin typeface="+mn-lt"/>
              </a:rPr>
              <a:t>D</a:t>
            </a:r>
            <a:r>
              <a:rPr lang="en-US" sz="1765" b="1" spc="-71">
                <a:gradFill>
                  <a:gsLst>
                    <a:gs pos="2917">
                      <a:schemeClr val="tx1"/>
                    </a:gs>
                    <a:gs pos="30000">
                      <a:schemeClr val="tx1"/>
                    </a:gs>
                  </a:gsLst>
                  <a:lin ang="5400000" scaled="0"/>
                </a:gradFill>
                <a:latin typeface="+mn-lt"/>
              </a:rPr>
              <a:t>ata Manipulation</a:t>
            </a:r>
            <a:endParaRPr lang="EN-US" sz="1765" b="1" spc="-71">
              <a:gradFill>
                <a:gsLst>
                  <a:gs pos="2917">
                    <a:schemeClr val="tx1"/>
                  </a:gs>
                  <a:gs pos="30000">
                    <a:schemeClr val="tx1"/>
                  </a:gs>
                </a:gsLst>
                <a:lin ang="5400000" scaled="0"/>
              </a:gradFill>
              <a:latin typeface="+mn-lt"/>
            </a:endParaRPr>
          </a:p>
          <a:p>
            <a:pPr defTabSz="914225"/>
            <a:r>
              <a:rPr lang="EN-US" sz="1176">
                <a:solidFill>
                  <a:srgbClr val="7030A0"/>
                </a:solidFill>
                <a:latin typeface="Consolas"/>
                <a:cs typeface="+mn-cs"/>
              </a:rPr>
              <a:t>SELECT, FROM, WHERE GROUP</a:t>
            </a:r>
          </a:p>
          <a:p>
            <a:pPr defTabSz="914225"/>
            <a:r>
              <a:rPr lang="EN-US" sz="1176">
                <a:solidFill>
                  <a:srgbClr val="7030A0"/>
                </a:solidFill>
                <a:latin typeface="Consolas"/>
                <a:cs typeface="+mn-cs"/>
              </a:rPr>
              <a:t>BY, HAVING, CASE WHEN THEN </a:t>
            </a:r>
          </a:p>
          <a:p>
            <a:pPr defTabSz="914225"/>
            <a:r>
              <a:rPr lang="EN-US" sz="1176">
                <a:solidFill>
                  <a:srgbClr val="7030A0"/>
                </a:solidFill>
                <a:latin typeface="Consolas"/>
                <a:cs typeface="+mn-cs"/>
              </a:rPr>
              <a:t>ELSE, INNER/LEFT OUTER </a:t>
            </a:r>
          </a:p>
          <a:p>
            <a:pPr defTabSz="914225"/>
            <a:r>
              <a:rPr lang="EN-US" sz="1176">
                <a:solidFill>
                  <a:srgbClr val="7030A0"/>
                </a:solidFill>
                <a:latin typeface="Consolas"/>
                <a:cs typeface="+mn-cs"/>
              </a:rPr>
              <a:t>JOIN, UNION, CROSS/OUTER</a:t>
            </a:r>
          </a:p>
          <a:p>
            <a:pPr defTabSz="914225"/>
            <a:r>
              <a:rPr lang="EN-US" sz="1176">
                <a:solidFill>
                  <a:srgbClr val="7030A0"/>
                </a:solidFill>
                <a:latin typeface="Consolas"/>
                <a:cs typeface="+mn-cs"/>
              </a:rPr>
              <a:t>APPLY, CAST, INTO, ORDER </a:t>
            </a:r>
          </a:p>
          <a:p>
            <a:pPr defTabSz="914225"/>
            <a:r>
              <a:rPr lang="EN-US" sz="1176">
                <a:solidFill>
                  <a:srgbClr val="7030A0"/>
                </a:solidFill>
                <a:latin typeface="Consolas"/>
                <a:cs typeface="+mn-cs"/>
              </a:rPr>
              <a:t>BY ASC, DSC</a:t>
            </a:r>
          </a:p>
          <a:p>
            <a:pPr marL="285648" indent="-285648" defTabSz="914225"/>
            <a:endParaRPr lang="en-US" sz="1176">
              <a:solidFill>
                <a:schemeClr val="tx1"/>
              </a:solidFill>
              <a:latin typeface="Consolas"/>
              <a:cs typeface="+mn-cs"/>
            </a:endParaRPr>
          </a:p>
        </p:txBody>
      </p:sp>
      <p:sp>
        <p:nvSpPr>
          <p:cNvPr id="2" name="Title 1"/>
          <p:cNvSpPr>
            <a:spLocks noGrp="1"/>
          </p:cNvSpPr>
          <p:nvPr>
            <p:ph type="title"/>
          </p:nvPr>
        </p:nvSpPr>
        <p:spPr>
          <a:xfrm>
            <a:off x="361776" y="58528"/>
            <a:ext cx="4233244" cy="899537"/>
          </a:xfrm>
        </p:spPr>
        <p:txBody>
          <a:bodyPr/>
          <a:lstStyle/>
          <a:p>
            <a:r>
              <a:rPr lang="en-US" sz="4509" dirty="0">
                <a:gradFill>
                  <a:gsLst>
                    <a:gs pos="0">
                      <a:srgbClr val="FFFFFF"/>
                    </a:gs>
                    <a:gs pos="100000">
                      <a:srgbClr val="FFFFFF"/>
                    </a:gs>
                  </a:gsLst>
                  <a:lin ang="5400000" scaled="0"/>
                </a:gradFill>
              </a:rPr>
              <a:t>Lowering the bar for developer skill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251" y="3363407"/>
            <a:ext cx="4302792" cy="2868528"/>
          </a:xfrm>
          <a:prstGeom prst="rect">
            <a:avLst/>
          </a:prstGeom>
        </p:spPr>
      </p:pic>
      <p:sp>
        <p:nvSpPr>
          <p:cNvPr id="12" name="TextBox 11"/>
          <p:cNvSpPr txBox="1"/>
          <p:nvPr/>
        </p:nvSpPr>
        <p:spPr>
          <a:xfrm>
            <a:off x="9484650" y="1739811"/>
            <a:ext cx="1792695"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Scaling Extensions</a:t>
            </a:r>
          </a:p>
          <a:p>
            <a:pPr defTabSz="896386">
              <a:defRPr/>
            </a:pPr>
            <a:r>
              <a:rPr lang="en-US" sz="1176" kern="0" dirty="0">
                <a:solidFill>
                  <a:srgbClr val="7030A0"/>
                </a:solidFill>
                <a:latin typeface="Consolas"/>
              </a:rPr>
              <a:t>WITH, PARTITION B</a:t>
            </a:r>
            <a:r>
              <a:rPr lang="en-US" sz="1176" kern="0" spc="-71" dirty="0">
                <a:solidFill>
                  <a:srgbClr val="7030A0"/>
                </a:solidFill>
                <a:latin typeface="Segoe UI"/>
              </a:rPr>
              <a:t>Y</a:t>
            </a:r>
          </a:p>
          <a:p>
            <a:pPr defTabSz="896386">
              <a:defRPr/>
            </a:pPr>
            <a:r>
              <a:rPr lang="en-US" sz="1176" kern="0" dirty="0">
                <a:solidFill>
                  <a:srgbClr val="7030A0"/>
                </a:solidFill>
                <a:latin typeface="Consolas"/>
              </a:rPr>
              <a:t>OVER</a:t>
            </a:r>
          </a:p>
        </p:txBody>
      </p:sp>
      <p:sp>
        <p:nvSpPr>
          <p:cNvPr id="13" name="TextBox 12"/>
          <p:cNvSpPr txBox="1"/>
          <p:nvPr/>
        </p:nvSpPr>
        <p:spPr>
          <a:xfrm>
            <a:off x="5925833" y="2364826"/>
            <a:ext cx="2427891"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Date and Time Functions</a:t>
            </a:r>
          </a:p>
          <a:p>
            <a:pPr defTabSz="896386">
              <a:defRPr/>
            </a:pPr>
            <a:r>
              <a:rPr lang="en-US" sz="1176" kern="0" err="1">
                <a:solidFill>
                  <a:srgbClr val="7030A0"/>
                </a:solidFill>
                <a:latin typeface="Consolas"/>
              </a:rPr>
              <a:t>DateName</a:t>
            </a:r>
            <a:r>
              <a:rPr lang="en-US" sz="1176" kern="0">
                <a:solidFill>
                  <a:srgbClr val="7030A0"/>
                </a:solidFill>
                <a:latin typeface="Consolas"/>
              </a:rPr>
              <a:t>, </a:t>
            </a:r>
            <a:r>
              <a:rPr lang="en-US" sz="1176" kern="0" err="1">
                <a:solidFill>
                  <a:srgbClr val="7030A0"/>
                </a:solidFill>
                <a:latin typeface="Consolas"/>
              </a:rPr>
              <a:t>DatePart</a:t>
            </a:r>
            <a:r>
              <a:rPr lang="en-US" sz="1176" kern="0">
                <a:solidFill>
                  <a:srgbClr val="7030A0"/>
                </a:solidFill>
                <a:latin typeface="Consolas"/>
              </a:rPr>
              <a:t>, Day</a:t>
            </a:r>
          </a:p>
          <a:p>
            <a:pPr defTabSz="896386">
              <a:defRPr/>
            </a:pPr>
            <a:r>
              <a:rPr lang="en-US" sz="1176" kern="0">
                <a:solidFill>
                  <a:srgbClr val="7030A0"/>
                </a:solidFill>
                <a:latin typeface="Consolas"/>
              </a:rPr>
              <a:t>Month, Year, </a:t>
            </a:r>
            <a:r>
              <a:rPr lang="en-US" sz="1176" kern="0" err="1">
                <a:solidFill>
                  <a:srgbClr val="7030A0"/>
                </a:solidFill>
                <a:latin typeface="Consolas"/>
              </a:rPr>
              <a:t>DateDiff</a:t>
            </a:r>
            <a:endParaRPr lang="en-US" sz="1176" kern="0">
              <a:solidFill>
                <a:srgbClr val="7030A0"/>
              </a:solidFill>
              <a:latin typeface="Consolas"/>
            </a:endParaRPr>
          </a:p>
          <a:p>
            <a:pPr defTabSz="896386">
              <a:defRPr/>
            </a:pPr>
            <a:r>
              <a:rPr lang="en-US" sz="1176" kern="0" err="1">
                <a:solidFill>
                  <a:srgbClr val="7030A0"/>
                </a:solidFill>
                <a:latin typeface="Consolas"/>
              </a:rPr>
              <a:t>DateTimeFromParts</a:t>
            </a:r>
            <a:r>
              <a:rPr lang="en-US" sz="1176" kern="0">
                <a:solidFill>
                  <a:srgbClr val="7030A0"/>
                </a:solidFill>
                <a:latin typeface="Consolas"/>
              </a:rPr>
              <a:t>, </a:t>
            </a:r>
            <a:r>
              <a:rPr lang="en-US" sz="1176" kern="0" err="1">
                <a:solidFill>
                  <a:srgbClr val="7030A0"/>
                </a:solidFill>
                <a:latin typeface="Consolas"/>
              </a:rPr>
              <a:t>DateAdd</a:t>
            </a:r>
            <a:endParaRPr lang="en-US" sz="1176" kern="0">
              <a:solidFill>
                <a:srgbClr val="7030A0"/>
              </a:solidFill>
              <a:latin typeface="Consolas"/>
            </a:endParaRPr>
          </a:p>
        </p:txBody>
      </p:sp>
      <p:sp>
        <p:nvSpPr>
          <p:cNvPr id="14" name="TextBox 13"/>
          <p:cNvSpPr txBox="1"/>
          <p:nvPr/>
        </p:nvSpPr>
        <p:spPr>
          <a:xfrm>
            <a:off x="5925833" y="4475563"/>
            <a:ext cx="2241324"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Windowing Extensions</a:t>
            </a:r>
          </a:p>
          <a:p>
            <a:pPr defTabSz="896386">
              <a:defRPr/>
            </a:pPr>
            <a:r>
              <a:rPr lang="en-US" sz="1176" kern="0" dirty="0" err="1">
                <a:solidFill>
                  <a:srgbClr val="7030A0"/>
                </a:solidFill>
                <a:latin typeface="Consolas"/>
              </a:rPr>
              <a:t>Tumbl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HoppingWindow</a:t>
            </a:r>
            <a:endParaRPr lang="en-US" sz="1176" kern="0" dirty="0">
              <a:solidFill>
                <a:srgbClr val="7030A0"/>
              </a:solidFill>
              <a:latin typeface="Consolas"/>
            </a:endParaRPr>
          </a:p>
          <a:p>
            <a:pPr defTabSz="896386">
              <a:defRPr/>
            </a:pPr>
            <a:r>
              <a:rPr lang="en-US" sz="1176" kern="0" dirty="0" err="1">
                <a:solidFill>
                  <a:srgbClr val="7030A0"/>
                </a:solidFill>
                <a:latin typeface="Consolas"/>
              </a:rPr>
              <a:t>SlidingWindow</a:t>
            </a:r>
            <a:endParaRPr lang="en-US" sz="1176" kern="0" dirty="0">
              <a:solidFill>
                <a:srgbClr val="7030A0"/>
              </a:solidFill>
              <a:latin typeface="Consolas"/>
            </a:endParaRPr>
          </a:p>
        </p:txBody>
      </p:sp>
      <p:sp>
        <p:nvSpPr>
          <p:cNvPr id="15" name="TextBox 14"/>
          <p:cNvSpPr txBox="1"/>
          <p:nvPr/>
        </p:nvSpPr>
        <p:spPr>
          <a:xfrm>
            <a:off x="9484650" y="2684477"/>
            <a:ext cx="2037345" cy="814661"/>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Aggregate Functions</a:t>
            </a:r>
          </a:p>
          <a:p>
            <a:pPr defTabSz="896386">
              <a:defRPr/>
            </a:pPr>
            <a:r>
              <a:rPr lang="en-US" sz="1176" kern="0" dirty="0">
                <a:solidFill>
                  <a:srgbClr val="7030A0"/>
                </a:solidFill>
                <a:latin typeface="Consolas"/>
              </a:rPr>
              <a:t>SUM, COUNT, AVG, MIN, </a:t>
            </a:r>
          </a:p>
          <a:p>
            <a:pPr defTabSz="896386">
              <a:defRPr/>
            </a:pPr>
            <a:r>
              <a:rPr lang="en-US" sz="1176" kern="0" dirty="0">
                <a:solidFill>
                  <a:srgbClr val="7030A0"/>
                </a:solidFill>
                <a:latin typeface="Consolas"/>
              </a:rPr>
              <a:t>MAX, STDEV, STDEVP, VAR</a:t>
            </a:r>
          </a:p>
          <a:p>
            <a:pPr defTabSz="896386">
              <a:defRPr/>
            </a:pPr>
            <a:r>
              <a:rPr lang="en-US" sz="1176" kern="0" dirty="0">
                <a:solidFill>
                  <a:srgbClr val="7030A0"/>
                </a:solidFill>
                <a:latin typeface="Consolas"/>
              </a:rPr>
              <a:t>VARP, </a:t>
            </a:r>
            <a:r>
              <a:rPr lang="en-US" sz="1176" kern="0" dirty="0" err="1">
                <a:solidFill>
                  <a:srgbClr val="7030A0"/>
                </a:solidFill>
                <a:latin typeface="Consolas"/>
              </a:rPr>
              <a:t>TopOne</a:t>
            </a:r>
            <a:endParaRPr lang="en-US" sz="1176" kern="0" dirty="0">
              <a:solidFill>
                <a:srgbClr val="7030A0"/>
              </a:solidFill>
              <a:latin typeface="Consolas"/>
            </a:endParaRPr>
          </a:p>
        </p:txBody>
      </p:sp>
      <p:sp>
        <p:nvSpPr>
          <p:cNvPr id="16" name="TextBox 15"/>
          <p:cNvSpPr txBox="1"/>
          <p:nvPr/>
        </p:nvSpPr>
        <p:spPr>
          <a:xfrm>
            <a:off x="9484651" y="614110"/>
            <a:ext cx="1832358" cy="814661"/>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String Functions</a:t>
            </a:r>
          </a:p>
          <a:p>
            <a:pPr defTabSz="896386">
              <a:defRPr/>
            </a:pPr>
            <a:r>
              <a:rPr lang="en-US" sz="1176" kern="0">
                <a:solidFill>
                  <a:srgbClr val="7030A0"/>
                </a:solidFill>
                <a:latin typeface="Consolas"/>
              </a:rPr>
              <a:t>Len, </a:t>
            </a:r>
            <a:r>
              <a:rPr lang="en-US" sz="1176" kern="0" err="1">
                <a:solidFill>
                  <a:srgbClr val="7030A0"/>
                </a:solidFill>
                <a:latin typeface="Consolas"/>
              </a:rPr>
              <a:t>Concat</a:t>
            </a:r>
            <a:r>
              <a:rPr lang="en-US" sz="1176" kern="0">
                <a:solidFill>
                  <a:srgbClr val="7030A0"/>
                </a:solidFill>
                <a:latin typeface="Consolas"/>
              </a:rPr>
              <a:t>, </a:t>
            </a:r>
            <a:r>
              <a:rPr lang="en-US" sz="1176" kern="0" err="1">
                <a:solidFill>
                  <a:srgbClr val="7030A0"/>
                </a:solidFill>
                <a:latin typeface="Consolas"/>
              </a:rPr>
              <a:t>CharIndex</a:t>
            </a:r>
            <a:endParaRPr lang="en-US" sz="1176" kern="0">
              <a:solidFill>
                <a:srgbClr val="7030A0"/>
              </a:solidFill>
              <a:latin typeface="Consolas"/>
            </a:endParaRPr>
          </a:p>
          <a:p>
            <a:pPr defTabSz="896386">
              <a:defRPr/>
            </a:pPr>
            <a:r>
              <a:rPr lang="en-US" sz="1176" kern="0">
                <a:solidFill>
                  <a:srgbClr val="7030A0"/>
                </a:solidFill>
                <a:latin typeface="Consolas"/>
              </a:rPr>
              <a:t>Substring, Lower</a:t>
            </a:r>
          </a:p>
          <a:p>
            <a:pPr defTabSz="896386">
              <a:defRPr/>
            </a:pPr>
            <a:r>
              <a:rPr lang="en-US" sz="1176" kern="0">
                <a:solidFill>
                  <a:srgbClr val="7030A0"/>
                </a:solidFill>
                <a:latin typeface="Consolas"/>
              </a:rPr>
              <a:t>Upper, </a:t>
            </a:r>
            <a:r>
              <a:rPr lang="en-US" sz="1176" kern="0" err="1">
                <a:solidFill>
                  <a:srgbClr val="7030A0"/>
                </a:solidFill>
                <a:latin typeface="Consolas"/>
              </a:rPr>
              <a:t>PatIndex</a:t>
            </a:r>
            <a:endParaRPr lang="en-US" sz="1176" kern="0">
              <a:solidFill>
                <a:srgbClr val="7030A0"/>
              </a:solidFill>
              <a:latin typeface="Consolas"/>
            </a:endParaRPr>
          </a:p>
        </p:txBody>
      </p:sp>
      <p:sp>
        <p:nvSpPr>
          <p:cNvPr id="17" name="TextBox 16"/>
          <p:cNvSpPr txBox="1"/>
          <p:nvPr/>
        </p:nvSpPr>
        <p:spPr>
          <a:xfrm>
            <a:off x="5925833" y="3521770"/>
            <a:ext cx="1920991" cy="663797"/>
          </a:xfrm>
          <a:prstGeom prst="rect">
            <a:avLst/>
          </a:prstGeom>
          <a:noFill/>
        </p:spPr>
        <p:txBody>
          <a:bodyPr wrap="none" lIns="0" tIns="0" rIns="0" bIns="0" rtlCol="0">
            <a:spAutoFit/>
          </a:bodyPr>
          <a:lstStyle/>
          <a:p>
            <a:pPr defTabSz="896386">
              <a:defRPr/>
            </a:pPr>
            <a:r>
              <a:rPr lang="en-US" sz="1765" b="1" kern="0" spc="-71">
                <a:gradFill>
                  <a:gsLst>
                    <a:gs pos="2917">
                      <a:srgbClr val="404040"/>
                    </a:gs>
                    <a:gs pos="30000">
                      <a:srgbClr val="404040"/>
                    </a:gs>
                  </a:gsLst>
                  <a:lin ang="5400000" scaled="0"/>
                </a:gradFill>
                <a:latin typeface="Segoe UI"/>
              </a:rPr>
              <a:t>Temporal Functions</a:t>
            </a:r>
            <a:endParaRPr lang="en-US" sz="1372" kern="0" spc="-71">
              <a:gradFill>
                <a:gsLst>
                  <a:gs pos="2917">
                    <a:srgbClr val="404040"/>
                  </a:gs>
                  <a:gs pos="30000">
                    <a:srgbClr val="404040"/>
                  </a:gs>
                </a:gsLst>
                <a:lin ang="5400000" scaled="0"/>
              </a:gradFill>
              <a:latin typeface="Segoe UI"/>
            </a:endParaRPr>
          </a:p>
          <a:p>
            <a:pPr defTabSz="896386">
              <a:defRPr/>
            </a:pPr>
            <a:r>
              <a:rPr lang="en-US" sz="1176" kern="0">
                <a:solidFill>
                  <a:srgbClr val="7030A0"/>
                </a:solidFill>
                <a:latin typeface="Consolas"/>
              </a:rPr>
              <a:t>Lag</a:t>
            </a:r>
            <a:r>
              <a:rPr lang="en-US" sz="1372" kern="0" spc="-71">
                <a:gradFill>
                  <a:gsLst>
                    <a:gs pos="2917">
                      <a:srgbClr val="404040"/>
                    </a:gs>
                    <a:gs pos="30000">
                      <a:srgbClr val="404040"/>
                    </a:gs>
                  </a:gsLst>
                  <a:lin ang="5400000" scaled="0"/>
                </a:gradFill>
                <a:latin typeface="Segoe UI"/>
              </a:rPr>
              <a:t>, </a:t>
            </a:r>
            <a:r>
              <a:rPr lang="en-US" sz="1176" kern="0" err="1">
                <a:solidFill>
                  <a:srgbClr val="7030A0"/>
                </a:solidFill>
                <a:latin typeface="Consolas"/>
              </a:rPr>
              <a:t>IsFirst,Last</a:t>
            </a:r>
            <a:endParaRPr lang="en-US" sz="1176" kern="0">
              <a:solidFill>
                <a:srgbClr val="7030A0"/>
              </a:solidFill>
              <a:latin typeface="Consolas"/>
            </a:endParaRPr>
          </a:p>
          <a:p>
            <a:pPr defTabSz="896386">
              <a:defRPr/>
            </a:pPr>
            <a:r>
              <a:rPr lang="en-US" sz="1176" kern="0" err="1">
                <a:solidFill>
                  <a:srgbClr val="7030A0"/>
                </a:solidFill>
                <a:latin typeface="Consolas"/>
              </a:rPr>
              <a:t>CollectTop</a:t>
            </a:r>
            <a:endParaRPr lang="en-US" sz="1176" kern="0">
              <a:solidFill>
                <a:srgbClr val="7030A0"/>
              </a:solidFill>
              <a:latin typeface="Consolas"/>
            </a:endParaRPr>
          </a:p>
        </p:txBody>
      </p:sp>
      <p:sp>
        <p:nvSpPr>
          <p:cNvPr id="18" name="TextBox 17"/>
          <p:cNvSpPr txBox="1"/>
          <p:nvPr/>
        </p:nvSpPr>
        <p:spPr>
          <a:xfrm>
            <a:off x="5925832" y="5626208"/>
            <a:ext cx="2349819" cy="633625"/>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Mathematical Functions</a:t>
            </a:r>
          </a:p>
          <a:p>
            <a:pPr defTabSz="896386">
              <a:defRPr/>
            </a:pPr>
            <a:r>
              <a:rPr lang="en-US" sz="1176" kern="0" dirty="0">
                <a:solidFill>
                  <a:srgbClr val="7030A0"/>
                </a:solidFill>
                <a:latin typeface="Consolas"/>
              </a:rPr>
              <a:t>ABS, CEILING, EXP, FLOOR</a:t>
            </a:r>
          </a:p>
          <a:p>
            <a:pPr defTabSz="896386">
              <a:defRPr/>
            </a:pPr>
            <a:r>
              <a:rPr lang="en-US" sz="1176" kern="0" dirty="0">
                <a:solidFill>
                  <a:srgbClr val="7030A0"/>
                </a:solidFill>
                <a:latin typeface="Consolas"/>
              </a:rPr>
              <a:t>POWER, SIGN, SQUARE, SQRT</a:t>
            </a:r>
          </a:p>
        </p:txBody>
      </p:sp>
      <p:sp>
        <p:nvSpPr>
          <p:cNvPr id="19" name="TextBox 18"/>
          <p:cNvSpPr txBox="1"/>
          <p:nvPr/>
        </p:nvSpPr>
        <p:spPr>
          <a:xfrm>
            <a:off x="9484651" y="3922527"/>
            <a:ext cx="2026910" cy="1538804"/>
          </a:xfrm>
          <a:prstGeom prst="rect">
            <a:avLst/>
          </a:prstGeom>
          <a:noFill/>
        </p:spPr>
        <p:txBody>
          <a:bodyPr wrap="none" lIns="0" tIns="0" rIns="0" bIns="0" rtlCol="0">
            <a:spAutoFit/>
          </a:bodyPr>
          <a:lstStyle/>
          <a:p>
            <a:pPr defTabSz="896386">
              <a:defRPr/>
            </a:pPr>
            <a:r>
              <a:rPr lang="en-US" sz="1765" b="1" kern="0" spc="-71" dirty="0">
                <a:gradFill>
                  <a:gsLst>
                    <a:gs pos="2917">
                      <a:srgbClr val="404040"/>
                    </a:gs>
                    <a:gs pos="30000">
                      <a:srgbClr val="404040"/>
                    </a:gs>
                  </a:gsLst>
                  <a:lin ang="5400000" scaled="0"/>
                </a:gradFill>
                <a:latin typeface="Segoe UI"/>
              </a:rPr>
              <a:t>Geospatial Functions</a:t>
            </a:r>
          </a:p>
          <a:p>
            <a:pPr defTabSz="896386">
              <a:defRPr/>
            </a:pPr>
            <a:r>
              <a:rPr lang="en-US" sz="1176" kern="0" dirty="0" err="1">
                <a:solidFill>
                  <a:srgbClr val="7030A0"/>
                </a:solidFill>
                <a:latin typeface="Consolas"/>
              </a:rPr>
              <a:t>CreatePoint</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Polygon</a:t>
            </a:r>
            <a:endParaRPr lang="en-US" sz="1176" kern="0" dirty="0">
              <a:solidFill>
                <a:srgbClr val="7030A0"/>
              </a:solidFill>
              <a:latin typeface="Consolas"/>
            </a:endParaRPr>
          </a:p>
          <a:p>
            <a:pPr defTabSz="896386">
              <a:defRPr/>
            </a:pPr>
            <a:r>
              <a:rPr lang="en-US" sz="1176" kern="0" dirty="0" err="1">
                <a:solidFill>
                  <a:srgbClr val="7030A0"/>
                </a:solidFill>
                <a:latin typeface="Consolas"/>
              </a:rPr>
              <a:t>CreateLine</a:t>
            </a:r>
            <a:r>
              <a:rPr lang="en-US" sz="1176" kern="0" dirty="0">
                <a:solidFill>
                  <a:srgbClr val="7030A0"/>
                </a:solidFill>
                <a:latin typeface="Consolas"/>
              </a:rPr>
              <a:t>String</a:t>
            </a:r>
          </a:p>
          <a:p>
            <a:pPr defTabSz="896386">
              <a:defRPr/>
            </a:pPr>
            <a:r>
              <a:rPr lang="en-US" sz="1176" kern="0" dirty="0">
                <a:solidFill>
                  <a:srgbClr val="7030A0"/>
                </a:solidFill>
                <a:latin typeface="Consolas"/>
              </a:rPr>
              <a:t>ST_DISTANCE</a:t>
            </a:r>
          </a:p>
          <a:p>
            <a:pPr defTabSz="896386">
              <a:defRPr/>
            </a:pPr>
            <a:r>
              <a:rPr lang="en-US" sz="1176" kern="0" dirty="0">
                <a:solidFill>
                  <a:srgbClr val="7030A0"/>
                </a:solidFill>
                <a:latin typeface="Consolas"/>
              </a:rPr>
              <a:t>ST_INTERSECTS</a:t>
            </a:r>
          </a:p>
          <a:p>
            <a:pPr defTabSz="896386">
              <a:defRPr/>
            </a:pPr>
            <a:r>
              <a:rPr lang="en-US" sz="1176" kern="0" dirty="0">
                <a:solidFill>
                  <a:srgbClr val="7030A0"/>
                </a:solidFill>
                <a:latin typeface="Consolas"/>
              </a:rPr>
              <a:t>ST_OVERLAPS</a:t>
            </a:r>
          </a:p>
          <a:p>
            <a:pPr defTabSz="896386">
              <a:defRPr/>
            </a:pPr>
            <a:r>
              <a:rPr lang="en-US" sz="1176" kern="0" dirty="0">
                <a:solidFill>
                  <a:srgbClr val="7030A0"/>
                </a:solidFill>
                <a:latin typeface="Consolas"/>
              </a:rPr>
              <a:t>ST_WITHIN</a:t>
            </a:r>
          </a:p>
        </p:txBody>
      </p:sp>
    </p:spTree>
    <p:extLst>
      <p:ext uri="{BB962C8B-B14F-4D97-AF65-F5344CB8AC3E}">
        <p14:creationId xmlns:p14="http://schemas.microsoft.com/office/powerpoint/2010/main" val="2078734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 name="Rectangle 838"/>
          <p:cNvSpPr/>
          <p:nvPr/>
        </p:nvSpPr>
        <p:spPr bwMode="auto">
          <a:xfrm>
            <a:off x="1" y="10337"/>
            <a:ext cx="5199575" cy="64912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840" name="Title 1"/>
          <p:cNvSpPr txBox="1">
            <a:spLocks/>
          </p:cNvSpPr>
          <p:nvPr/>
        </p:nvSpPr>
        <p:spPr>
          <a:xfrm>
            <a:off x="119445" y="-28435"/>
            <a:ext cx="4557605" cy="899537"/>
          </a:xfrm>
          <a:prstGeom prst="rect">
            <a:avLst/>
          </a:prstGeom>
        </p:spPr>
        <p:txBody>
          <a:bodyPr vert="horz" wrap="square" lIns="143428" tIns="89642" rIns="143428" bIns="89642" rtlCol="0" anchor="t">
            <a:noAutofit/>
          </a:bodyPr>
          <a:lst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5292" spc="-100">
                <a:solidFill>
                  <a:srgbClr val="505050">
                    <a:lumMod val="50000"/>
                  </a:srgbClr>
                </a:solidFill>
                <a:latin typeface="Segoe UI Light"/>
                <a:cs typeface="Segoe UI Light" panose="020B0502040204020203" pitchFamily="34" charset="0"/>
              </a:rPr>
              <a:t>Reference Data</a:t>
            </a:r>
          </a:p>
        </p:txBody>
      </p:sp>
      <p:sp>
        <p:nvSpPr>
          <p:cNvPr id="841" name="Text Placeholder 6"/>
          <p:cNvSpPr>
            <a:spLocks noGrp="1"/>
          </p:cNvSpPr>
          <p:nvPr>
            <p:ph type="body" sz="quarter" idx="10"/>
          </p:nvPr>
        </p:nvSpPr>
        <p:spPr>
          <a:xfrm>
            <a:off x="5842324" y="883928"/>
            <a:ext cx="6050868" cy="3285334"/>
          </a:xfrm>
          <a:prstGeom prst="rect">
            <a:avLst/>
          </a:prstGeom>
        </p:spPr>
        <p:txBody>
          <a:bodyPr>
            <a:normAutofit fontScale="92500" lnSpcReduction="20000"/>
          </a:bodyPr>
          <a:lstStyle/>
          <a:p>
            <a:r>
              <a:rPr lang="en-US" sz="2745" b="1">
                <a:solidFill>
                  <a:srgbClr val="7FBA00"/>
                </a:solidFill>
                <a:latin typeface="Segoe UI Light" panose="020B0502040204020203" pitchFamily="34" charset="0"/>
                <a:cs typeface="Segoe UI Light" panose="020B0502040204020203" pitchFamily="34" charset="0"/>
              </a:rPr>
              <a:t>Seamless correlation of event streams with reference data</a:t>
            </a:r>
          </a:p>
          <a:p>
            <a:endParaRPr lang="en-US" sz="2745">
              <a:solidFill>
                <a:srgbClr val="7FBA00"/>
              </a:solidFill>
              <a:latin typeface="Segoe UI Light" panose="020B0502040204020203" pitchFamily="34" charset="0"/>
              <a:cs typeface="Segoe UI Light" panose="020B0502040204020203" pitchFamily="34" charset="0"/>
            </a:endParaRPr>
          </a:p>
          <a:p>
            <a:r>
              <a:rPr lang="en-US" sz="1961">
                <a:solidFill>
                  <a:schemeClr val="bg2">
                    <a:lumMod val="50000"/>
                  </a:schemeClr>
                </a:solidFill>
              </a:rPr>
              <a:t>Static or slowly-changing data stored in blobs</a:t>
            </a:r>
          </a:p>
          <a:p>
            <a:endParaRPr lang="en-US" sz="1961">
              <a:solidFill>
                <a:schemeClr val="bg2">
                  <a:lumMod val="50000"/>
                </a:schemeClr>
              </a:solidFill>
              <a:latin typeface="Consolas"/>
            </a:endParaRPr>
          </a:p>
          <a:p>
            <a:r>
              <a:rPr lang="en-US" sz="1961">
                <a:solidFill>
                  <a:schemeClr val="bg2">
                    <a:lumMod val="50000"/>
                  </a:schemeClr>
                </a:solidFill>
              </a:rPr>
              <a:t>Scanned for changes on a settable cadence</a:t>
            </a:r>
            <a:br>
              <a:rPr lang="en-US" sz="1961">
                <a:solidFill>
                  <a:schemeClr val="bg2">
                    <a:lumMod val="50000"/>
                  </a:schemeClr>
                </a:solidFill>
              </a:rPr>
            </a:br>
            <a:endParaRPr lang="en-US" sz="1961">
              <a:solidFill>
                <a:schemeClr val="bg2">
                  <a:lumMod val="50000"/>
                </a:schemeClr>
              </a:solidFill>
            </a:endParaRPr>
          </a:p>
          <a:p>
            <a:r>
              <a:rPr lang="en-US" sz="1961" b="1">
                <a:solidFill>
                  <a:schemeClr val="bg2">
                    <a:lumMod val="50000"/>
                  </a:schemeClr>
                </a:solidFill>
              </a:rPr>
              <a:t>JOIN </a:t>
            </a:r>
            <a:r>
              <a:rPr lang="en-US" sz="1961">
                <a:solidFill>
                  <a:schemeClr val="bg2">
                    <a:lumMod val="50000"/>
                  </a:schemeClr>
                </a:solidFill>
              </a:rPr>
              <a:t>(</a:t>
            </a:r>
            <a:r>
              <a:rPr lang="en-US" sz="1961" b="1">
                <a:solidFill>
                  <a:schemeClr val="bg2">
                    <a:lumMod val="50000"/>
                  </a:schemeClr>
                </a:solidFill>
              </a:rPr>
              <a:t>INNER </a:t>
            </a:r>
            <a:r>
              <a:rPr lang="en-US" sz="1961">
                <a:solidFill>
                  <a:schemeClr val="bg2">
                    <a:lumMod val="50000"/>
                  </a:schemeClr>
                </a:solidFill>
              </a:rPr>
              <a:t>or </a:t>
            </a:r>
            <a:r>
              <a:rPr lang="en-US" sz="1961" b="1">
                <a:solidFill>
                  <a:schemeClr val="bg2">
                    <a:lumMod val="50000"/>
                  </a:schemeClr>
                </a:solidFill>
              </a:rPr>
              <a:t>LEFT OUTER</a:t>
            </a:r>
            <a:r>
              <a:rPr lang="en-US" sz="1961">
                <a:solidFill>
                  <a:schemeClr val="bg2">
                    <a:lumMod val="50000"/>
                  </a:schemeClr>
                </a:solidFill>
              </a:rPr>
              <a:t>) between streams and reference data sources</a:t>
            </a:r>
          </a:p>
          <a:p>
            <a:endParaRPr lang="en-US" sz="1961">
              <a:solidFill>
                <a:schemeClr val="bg2">
                  <a:lumMod val="50000"/>
                </a:schemeClr>
              </a:solidFill>
            </a:endParaRPr>
          </a:p>
          <a:p>
            <a:endParaRPr lang="en-US" sz="1961">
              <a:solidFill>
                <a:schemeClr val="bg2">
                  <a:lumMod val="50000"/>
                </a:schemeClr>
              </a:solidFill>
            </a:endParaRPr>
          </a:p>
          <a:p>
            <a:r>
              <a:rPr lang="en-US" sz="1961">
                <a:solidFill>
                  <a:schemeClr val="bg2">
                    <a:lumMod val="50000"/>
                  </a:schemeClr>
                </a:solidFill>
              </a:rPr>
              <a:t>Reference data appears like another input in the query</a:t>
            </a:r>
          </a:p>
        </p:txBody>
      </p:sp>
      <p:sp>
        <p:nvSpPr>
          <p:cNvPr id="842" name="Freeform 38"/>
          <p:cNvSpPr>
            <a:spLocks noEditPoints="1"/>
          </p:cNvSpPr>
          <p:nvPr/>
        </p:nvSpPr>
        <p:spPr bwMode="auto">
          <a:xfrm>
            <a:off x="2136791" y="4101319"/>
            <a:ext cx="522914" cy="1419339"/>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tx1">
              <a:lumMod val="60000"/>
              <a:lumOff val="40000"/>
            </a:schemeClr>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404040"/>
              </a:solidFill>
              <a:latin typeface="Segoe UI"/>
            </a:endParaRPr>
          </a:p>
        </p:txBody>
      </p:sp>
      <p:pic>
        <p:nvPicPr>
          <p:cNvPr id="844" name="Picture 8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866" y="2251157"/>
            <a:ext cx="3648804" cy="2432536"/>
          </a:xfrm>
          <a:prstGeom prst="rect">
            <a:avLst/>
          </a:prstGeom>
        </p:spPr>
      </p:pic>
      <p:sp>
        <p:nvSpPr>
          <p:cNvPr id="2" name="TextBox 1"/>
          <p:cNvSpPr txBox="1"/>
          <p:nvPr/>
        </p:nvSpPr>
        <p:spPr>
          <a:xfrm>
            <a:off x="5797192" y="4698935"/>
            <a:ext cx="6096000" cy="1496563"/>
          </a:xfrm>
          <a:prstGeom prst="rect">
            <a:avLst/>
          </a:prstGeom>
          <a:solidFill>
            <a:schemeClr val="bg1">
              <a:lumMod val="95000"/>
            </a:schemeClr>
          </a:solidFill>
        </p:spPr>
        <p:txBody>
          <a:bodyPr wrap="square" lIns="179285" tIns="143428" rIns="179285" bIns="143428" rtlCol="0">
            <a:spAutoFit/>
          </a:bodyPr>
          <a:lstStyle/>
          <a:p>
            <a:pPr defTabSz="896386">
              <a:defRPr/>
            </a:pPr>
            <a:r>
              <a:rPr lang="en-US" sz="1961" kern="0">
                <a:solidFill>
                  <a:srgbClr val="00188F">
                    <a:lumMod val="60000"/>
                    <a:lumOff val="40000"/>
                  </a:srgbClr>
                </a:solidFill>
                <a:latin typeface="Consolas"/>
              </a:rPr>
              <a:t>SELECT</a:t>
            </a:r>
            <a:r>
              <a:rPr lang="en-US" sz="1961" kern="0">
                <a:solidFill>
                  <a:srgbClr val="00188F">
                    <a:lumMod val="75000"/>
                  </a:srgbClr>
                </a:solidFill>
                <a:latin typeface="Consolas"/>
              </a:rPr>
              <a:t> </a:t>
            </a:r>
            <a:r>
              <a:rPr lang="en-US" sz="1961" kern="0" err="1">
                <a:solidFill>
                  <a:srgbClr val="404040"/>
                </a:solidFill>
                <a:latin typeface="Consolas"/>
              </a:rPr>
              <a:t>myRefData.Name</a:t>
            </a:r>
            <a:r>
              <a:rPr lang="en-US" sz="1961" kern="0">
                <a:solidFill>
                  <a:srgbClr val="404040"/>
                </a:solidFill>
                <a:latin typeface="Consolas"/>
              </a:rPr>
              <a:t>, </a:t>
            </a:r>
            <a:r>
              <a:rPr lang="en-US" sz="1961" kern="0" err="1">
                <a:solidFill>
                  <a:srgbClr val="404040"/>
                </a:solidFill>
                <a:latin typeface="Consolas"/>
              </a:rPr>
              <a:t>myStream.Value</a:t>
            </a:r>
            <a:r>
              <a:rPr lang="en-US" sz="1961" kern="0">
                <a:solidFill>
                  <a:srgbClr val="404040"/>
                </a:solidFill>
                <a:latin typeface="Consolas"/>
              </a:rPr>
              <a:t> </a:t>
            </a:r>
          </a:p>
          <a:p>
            <a:pPr defTabSz="896386">
              <a:defRPr/>
            </a:pPr>
            <a:r>
              <a:rPr lang="en-US" sz="1961" kern="0">
                <a:solidFill>
                  <a:srgbClr val="00188F">
                    <a:lumMod val="60000"/>
                    <a:lumOff val="40000"/>
                  </a:srgbClr>
                </a:solidFill>
                <a:latin typeface="Consolas"/>
              </a:rPr>
              <a:t>FROM</a:t>
            </a:r>
            <a:r>
              <a:rPr lang="en-US" sz="1961" kern="0">
                <a:solidFill>
                  <a:srgbClr val="00188F">
                    <a:lumMod val="75000"/>
                  </a:srgbClr>
                </a:solidFill>
                <a:latin typeface="Consolas"/>
              </a:rPr>
              <a:t> </a:t>
            </a:r>
            <a:r>
              <a:rPr lang="en-US" sz="1961" kern="0" err="1">
                <a:solidFill>
                  <a:srgbClr val="404040"/>
                </a:solidFill>
                <a:latin typeface="Consolas"/>
              </a:rPr>
              <a:t>myStream</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JOIN</a:t>
            </a:r>
            <a:r>
              <a:rPr lang="en-US" sz="1961" kern="0">
                <a:solidFill>
                  <a:srgbClr val="00188F">
                    <a:lumMod val="75000"/>
                  </a:srgbClr>
                </a:solidFill>
                <a:latin typeface="Consolas"/>
              </a:rPr>
              <a:t> </a:t>
            </a:r>
            <a:r>
              <a:rPr lang="en-US" sz="1961" kern="0" err="1">
                <a:solidFill>
                  <a:srgbClr val="404040"/>
                </a:solidFill>
                <a:latin typeface="Consolas"/>
              </a:rPr>
              <a:t>myRefData</a:t>
            </a:r>
            <a:endParaRPr lang="en-US" sz="1961" kern="0">
              <a:solidFill>
                <a:srgbClr val="404040"/>
              </a:solidFill>
              <a:latin typeface="Consolas"/>
            </a:endParaRPr>
          </a:p>
          <a:p>
            <a:pPr defTabSz="896386">
              <a:defRPr/>
            </a:pPr>
            <a:r>
              <a:rPr lang="en-US" sz="1961" kern="0">
                <a:solidFill>
                  <a:srgbClr val="00188F">
                    <a:lumMod val="60000"/>
                    <a:lumOff val="40000"/>
                  </a:srgbClr>
                </a:solidFill>
                <a:latin typeface="Consolas"/>
              </a:rPr>
              <a:t>	ON</a:t>
            </a:r>
            <a:r>
              <a:rPr lang="en-US" sz="1961" kern="0">
                <a:solidFill>
                  <a:srgbClr val="00188F">
                    <a:lumMod val="75000"/>
                  </a:srgbClr>
                </a:solidFill>
                <a:latin typeface="Consolas"/>
              </a:rPr>
              <a:t> </a:t>
            </a:r>
            <a:r>
              <a:rPr lang="en-US" sz="1961" kern="0" err="1">
                <a:solidFill>
                  <a:srgbClr val="404040"/>
                </a:solidFill>
                <a:latin typeface="Consolas"/>
              </a:rPr>
              <a:t>myStream.myKey</a:t>
            </a:r>
            <a:r>
              <a:rPr lang="en-US" sz="1961" kern="0">
                <a:solidFill>
                  <a:srgbClr val="404040"/>
                </a:solidFill>
                <a:latin typeface="Consolas"/>
              </a:rPr>
              <a:t> = </a:t>
            </a:r>
            <a:r>
              <a:rPr lang="en-US" sz="1961" kern="0" err="1">
                <a:solidFill>
                  <a:srgbClr val="404040"/>
                </a:solidFill>
                <a:latin typeface="Consolas"/>
              </a:rPr>
              <a:t>myRefData.myKey</a:t>
            </a:r>
            <a:endParaRPr lang="en-US" sz="1961" kern="0">
              <a:gradFill>
                <a:gsLst>
                  <a:gs pos="2917">
                    <a:srgbClr val="404040"/>
                  </a:gs>
                  <a:gs pos="30000">
                    <a:srgbClr val="404040"/>
                  </a:gs>
                </a:gsLst>
                <a:lin ang="5400000" scaled="0"/>
              </a:gradFill>
              <a:latin typeface="Segoe UI"/>
            </a:endParaRPr>
          </a:p>
        </p:txBody>
      </p:sp>
    </p:spTree>
    <p:extLst>
      <p:ext uri="{BB962C8B-B14F-4D97-AF65-F5344CB8AC3E}">
        <p14:creationId xmlns:p14="http://schemas.microsoft.com/office/powerpoint/2010/main" val="256611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duotone>
              <a:prstClr val="black"/>
              <a:schemeClr val="accent6">
                <a:tint val="45000"/>
                <a:satMod val="400000"/>
              </a:schemeClr>
            </a:duotone>
          </a:blip>
          <a:srcRect l="363" t="20981" r="363" b="436"/>
          <a:stretch/>
        </p:blipFill>
        <p:spPr>
          <a:xfrm>
            <a:off x="0" y="-136"/>
            <a:ext cx="5199264" cy="6857650"/>
          </a:xfrm>
          <a:prstGeom prst="rect">
            <a:avLst/>
          </a:prstGeom>
          <a:solidFill>
            <a:schemeClr val="bg2">
              <a:lumMod val="50000"/>
            </a:schemeClr>
          </a:solidFill>
        </p:spPr>
      </p:pic>
      <p:sp>
        <p:nvSpPr>
          <p:cNvPr id="2" name="Title 1"/>
          <p:cNvSpPr>
            <a:spLocks noGrp="1"/>
          </p:cNvSpPr>
          <p:nvPr>
            <p:ph type="title"/>
          </p:nvPr>
        </p:nvSpPr>
        <p:spPr>
          <a:xfrm>
            <a:off x="25261" y="77450"/>
            <a:ext cx="5174003" cy="899537"/>
          </a:xfrm>
        </p:spPr>
        <p:txBody>
          <a:bodyPr/>
          <a:lstStyle/>
          <a:p>
            <a:r>
              <a:rPr lang="en-US" sz="4411">
                <a:gradFill>
                  <a:gsLst>
                    <a:gs pos="0">
                      <a:srgbClr val="FFFFFF"/>
                    </a:gs>
                    <a:gs pos="100000">
                      <a:srgbClr val="FFFFFF"/>
                    </a:gs>
                  </a:gsLst>
                  <a:lin ang="5400000" scaled="0"/>
                </a:gradFill>
              </a:rPr>
              <a:t>Seamless integration</a:t>
            </a:r>
            <a:br>
              <a:rPr lang="en-US" sz="4411">
                <a:gradFill>
                  <a:gsLst>
                    <a:gs pos="0">
                      <a:srgbClr val="FFFFFF"/>
                    </a:gs>
                    <a:gs pos="100000">
                      <a:srgbClr val="FFFFFF"/>
                    </a:gs>
                  </a:gsLst>
                  <a:lin ang="5400000" scaled="0"/>
                </a:gradFill>
              </a:rPr>
            </a:br>
            <a:r>
              <a:rPr lang="en-US" sz="4411">
                <a:gradFill>
                  <a:gsLst>
                    <a:gs pos="0">
                      <a:srgbClr val="FFFFFF"/>
                    </a:gs>
                    <a:gs pos="100000">
                      <a:srgbClr val="FFFFFF"/>
                    </a:gs>
                  </a:gsLst>
                  <a:lin ang="5400000" scaled="0"/>
                </a:gradFill>
              </a:rPr>
              <a:t>for rapid solution development</a:t>
            </a:r>
          </a:p>
        </p:txBody>
      </p:sp>
      <p:sp>
        <p:nvSpPr>
          <p:cNvPr id="11" name="Text Placeholder 5"/>
          <p:cNvSpPr txBox="1">
            <a:spLocks/>
          </p:cNvSpPr>
          <p:nvPr/>
        </p:nvSpPr>
        <p:spPr bwMode="auto">
          <a:xfrm>
            <a:off x="5224523" y="213269"/>
            <a:ext cx="6405410" cy="51353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58570" tIns="143428" rIns="179285" bIns="143428" numCol="1" anchor="t" anchorCtr="0" compatLnSpc="1">
            <a:prstTxWarp prst="textNoShape">
              <a:avLst/>
            </a:prstTxWarp>
            <a:spAutoFit/>
          </a:bodyPr>
          <a:lstStyle>
            <a:lvl1pPr marL="0" indent="0" algn="l" defTabSz="931863" rtl="0" fontAlgn="base">
              <a:lnSpc>
                <a:spcPct val="90000"/>
              </a:lnSpc>
              <a:spcBef>
                <a:spcPct val="20000"/>
              </a:spcBef>
              <a:spcAft>
                <a:spcPct val="0"/>
              </a:spcAft>
              <a:buSzPct val="90000"/>
              <a:buFont typeface="Arial" charset="0"/>
              <a:buNone/>
              <a:defRPr sz="4000" kern="1200">
                <a:gradFill>
                  <a:gsLst>
                    <a:gs pos="2920">
                      <a:schemeClr val="tx2"/>
                    </a:gs>
                    <a:gs pos="39000">
                      <a:schemeClr val="tx2"/>
                    </a:gs>
                  </a:gsLst>
                  <a:lin ang="5400000" scaled="0"/>
                </a:gradFill>
                <a:latin typeface="+mj-lt"/>
                <a:ea typeface="ＭＳ Ｐゴシック" charset="0"/>
                <a:cs typeface="ＭＳ Ｐゴシック" charset="0"/>
              </a:defRPr>
            </a:lvl1pPr>
            <a:lvl2pPr marL="28575"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2pPr>
            <a:lvl3pPr marL="223838" indent="0" algn="l" defTabSz="931863" rtl="0" fontAlgn="base">
              <a:lnSpc>
                <a:spcPct val="90000"/>
              </a:lnSpc>
              <a:spcBef>
                <a:spcPct val="20000"/>
              </a:spcBef>
              <a:spcAft>
                <a:spcPct val="0"/>
              </a:spcAft>
              <a:buSzPct val="90000"/>
              <a:buFont typeface="Arial" charset="0"/>
              <a:buNone/>
              <a:defRPr sz="2000" kern="1200">
                <a:gradFill>
                  <a:gsLst>
                    <a:gs pos="2917">
                      <a:schemeClr val="tx2"/>
                    </a:gs>
                    <a:gs pos="100000">
                      <a:schemeClr val="tx2"/>
                    </a:gs>
                  </a:gsLst>
                  <a:lin ang="5400000" scaled="0"/>
                </a:gradFill>
                <a:latin typeface="+mn-lt"/>
                <a:ea typeface="ＭＳ Ｐゴシック" charset="0"/>
                <a:cs typeface="+mn-cs"/>
              </a:defRPr>
            </a:lvl3pPr>
            <a:lvl4pPr marL="476250"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4pPr>
            <a:lvl5pPr marL="739775" indent="0" algn="l" defTabSz="931863" rtl="0" fontAlgn="base">
              <a:lnSpc>
                <a:spcPct val="90000"/>
              </a:lnSpc>
              <a:spcBef>
                <a:spcPct val="20000"/>
              </a:spcBef>
              <a:spcAft>
                <a:spcPct val="0"/>
              </a:spcAft>
              <a:buSzPct val="90000"/>
              <a:buFont typeface="Arial" charset="0"/>
              <a:buNone/>
              <a:defRPr sz="1800" kern="1200">
                <a:gradFill>
                  <a:gsLst>
                    <a:gs pos="2917">
                      <a:schemeClr val="tx2"/>
                    </a:gs>
                    <a:gs pos="100000">
                      <a:schemeClr val="tx2"/>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505">
              <a:defRPr/>
            </a:pPr>
            <a:r>
              <a:rPr lang="EN-US" sz="2353" b="1" dirty="0">
                <a:gradFill>
                  <a:gsLst>
                    <a:gs pos="2920">
                      <a:srgbClr val="505050"/>
                    </a:gs>
                    <a:gs pos="39000">
                      <a:srgbClr val="505050"/>
                    </a:gs>
                  </a:gsLst>
                  <a:lin ang="5400000" scaled="0"/>
                </a:gradFill>
                <a:latin typeface="Segoe UI Light"/>
              </a:rPr>
              <a:t>In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Even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IoT Hub </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r>
              <a:rPr lang="EN-US" sz="1961" dirty="0">
                <a:solidFill>
                  <a:srgbClr val="0072C6">
                    <a:lumMod val="60000"/>
                    <a:lumOff val="40000"/>
                  </a:srgbClr>
                </a:solidFill>
                <a:latin typeface="Segoe UI Light"/>
              </a:rPr>
              <a:t> </a:t>
            </a:r>
            <a:endParaRPr lang="EN-US" sz="1961" dirty="0">
              <a:gradFill>
                <a:gsLst>
                  <a:gs pos="2920">
                    <a:srgbClr val="505050"/>
                  </a:gs>
                  <a:gs pos="39000">
                    <a:srgbClr val="505050"/>
                  </a:gs>
                </a:gsLst>
                <a:lin ang="5400000" scaled="0"/>
              </a:gradFill>
              <a:latin typeface="Segoe UI Light"/>
            </a:endParaRPr>
          </a:p>
          <a:p>
            <a:pPr marL="336145" indent="-336145" defTabSz="913505">
              <a:buFont typeface="Arial" panose="020B0604020202020204" pitchFamily="34" charset="0"/>
              <a:buChar char="•"/>
              <a:defRPr/>
            </a:pPr>
            <a:endParaRPr lang="en-US" sz="2353" dirty="0">
              <a:solidFill>
                <a:srgbClr val="505050"/>
              </a:soli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Reference / Augmentation</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zure </a:t>
            </a:r>
            <a:r>
              <a:rPr lang="EN-US" sz="1961" dirty="0">
                <a:solidFill>
                  <a:srgbClr val="0072C6">
                    <a:lumMod val="50000"/>
                  </a:srgbClr>
                </a:solidFill>
                <a:latin typeface="Segoe UI Light"/>
              </a:rPr>
              <a:t>Machine Learning</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Blob storage</a:t>
            </a:r>
          </a:p>
          <a:p>
            <a:pPr defTabSz="913505">
              <a:defRPr/>
            </a:pPr>
            <a:endParaRPr lang="en-US" sz="2353" b="1" dirty="0">
              <a:gradFill>
                <a:gsLst>
                  <a:gs pos="2920">
                    <a:srgbClr val="505050"/>
                  </a:gs>
                  <a:gs pos="39000">
                    <a:srgbClr val="505050"/>
                  </a:gs>
                </a:gsLst>
                <a:lin ang="5400000" scaled="0"/>
              </a:gradFill>
              <a:latin typeface="Segoe UI Light"/>
            </a:endParaRPr>
          </a:p>
          <a:p>
            <a:pPr defTabSz="913505">
              <a:defRPr/>
            </a:pPr>
            <a:r>
              <a:rPr lang="EN-US" sz="2353" b="1" dirty="0">
                <a:gradFill>
                  <a:gsLst>
                    <a:gs pos="2920">
                      <a:srgbClr val="505050"/>
                    </a:gs>
                    <a:gs pos="39000">
                      <a:srgbClr val="505050"/>
                    </a:gs>
                  </a:gsLst>
                  <a:lin ang="5400000" scaled="0"/>
                </a:gradFill>
                <a:latin typeface="Segoe UI Light"/>
              </a:rPr>
              <a:t>Egress</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Live Dashboards: PowerBI</a:t>
            </a: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Driving workflows: Event Hubs, Service Bus</a:t>
            </a:r>
            <a:endParaRPr lang="EN-US" sz="1961" dirty="0">
              <a:solidFill>
                <a:srgbClr val="0072C6">
                  <a:lumMod val="50000"/>
                </a:srgbClr>
              </a:solidFill>
              <a:latin typeface="Segoe UI Light"/>
            </a:endParaRPr>
          </a:p>
          <a:p>
            <a:pPr marL="448193" indent="-448193" defTabSz="913505">
              <a:buFont typeface="Arial" panose="020B0604020202020204" pitchFamily="34" charset="0"/>
              <a:buChar char="•"/>
              <a:defRPr/>
            </a:pPr>
            <a:r>
              <a:rPr lang="EN-US" sz="1961" dirty="0">
                <a:solidFill>
                  <a:srgbClr val="0072C6">
                    <a:lumMod val="50000"/>
                  </a:srgbClr>
                </a:solidFill>
                <a:latin typeface="Segoe UI Light"/>
              </a:rPr>
              <a:t>Archiving and post analysis: Blob Storage,  Document DB, Data Lake, SQL Server, Table Storage </a:t>
            </a:r>
            <a:endParaRPr lang="EN-US" sz="2353" dirty="0">
              <a:solidFill>
                <a:srgbClr val="0072C6">
                  <a:lumMod val="50000"/>
                </a:srgbClr>
              </a:solidFill>
              <a:latin typeface="Segoe UI Light"/>
            </a:endParaRPr>
          </a:p>
        </p:txBody>
      </p:sp>
    </p:spTree>
    <p:extLst>
      <p:ext uri="{BB962C8B-B14F-4D97-AF65-F5344CB8AC3E}">
        <p14:creationId xmlns:p14="http://schemas.microsoft.com/office/powerpoint/2010/main" val="34196342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0FDF66-92D6-4DE9-BEDA-B3D8D671500A}"/>
              </a:ext>
            </a:extLst>
          </p:cNvPr>
          <p:cNvSpPr>
            <a:spLocks noGrp="1"/>
          </p:cNvSpPr>
          <p:nvPr>
            <p:ph type="body" sz="quarter" idx="11"/>
          </p:nvPr>
        </p:nvSpPr>
        <p:spPr>
          <a:xfrm>
            <a:off x="269240" y="1189176"/>
            <a:ext cx="11655840" cy="1924566"/>
          </a:xfrm>
        </p:spPr>
        <p:txBody>
          <a:bodyPr/>
          <a:lstStyle/>
          <a:p>
            <a:r>
              <a:rPr lang="en-US" dirty="0"/>
              <a:t>SUs provide a way to describe the relative event processing capacity based on a blended measure of CPU, memory, and read and write rates. </a:t>
            </a:r>
          </a:p>
        </p:txBody>
      </p:sp>
      <p:sp>
        <p:nvSpPr>
          <p:cNvPr id="3" name="Title 2">
            <a:extLst>
              <a:ext uri="{FF2B5EF4-FFF2-40B4-BE49-F238E27FC236}">
                <a16:creationId xmlns:a16="http://schemas.microsoft.com/office/drawing/2014/main" id="{4DB0329C-D5CD-4E06-8EC2-8B1F0365D994}"/>
              </a:ext>
            </a:extLst>
          </p:cNvPr>
          <p:cNvSpPr>
            <a:spLocks noGrp="1"/>
          </p:cNvSpPr>
          <p:nvPr>
            <p:ph type="title"/>
          </p:nvPr>
        </p:nvSpPr>
        <p:spPr/>
        <p:txBody>
          <a:bodyPr/>
          <a:lstStyle/>
          <a:p>
            <a:r>
              <a:rPr lang="en-US" dirty="0"/>
              <a:t>Streaming Units</a:t>
            </a:r>
          </a:p>
        </p:txBody>
      </p:sp>
      <p:sp>
        <p:nvSpPr>
          <p:cNvPr id="4" name="TextBox 3">
            <a:extLst>
              <a:ext uri="{FF2B5EF4-FFF2-40B4-BE49-F238E27FC236}">
                <a16:creationId xmlns:a16="http://schemas.microsoft.com/office/drawing/2014/main" id="{A973C740-B244-4F13-8E5F-C760B7FBA9D1}"/>
              </a:ext>
            </a:extLst>
          </p:cNvPr>
          <p:cNvSpPr txBox="1"/>
          <p:nvPr/>
        </p:nvSpPr>
        <p:spPr>
          <a:xfrm>
            <a:off x="555674" y="3334043"/>
            <a:ext cx="10276449" cy="4056495"/>
          </a:xfrm>
          <a:prstGeom prst="rect">
            <a:avLst/>
          </a:prstGeom>
          <a:noFill/>
        </p:spPr>
        <p:txBody>
          <a:bodyPr wrap="square" lIns="182880" tIns="146304" rIns="182880" bIns="146304" rtlCol="0">
            <a:spAutoFit/>
          </a:bodyPr>
          <a:lstStyle/>
          <a:p>
            <a:pPr>
              <a:lnSpc>
                <a:spcPct val="90000"/>
              </a:lnSpc>
              <a:spcAft>
                <a:spcPts val="600"/>
              </a:spcAft>
            </a:pPr>
            <a:r>
              <a:rPr lang="en-US" sz="2400" dirty="0"/>
              <a:t>Factors increasing SU% utilization</a:t>
            </a:r>
          </a:p>
          <a:p>
            <a:pPr marL="342900" indent="-342900">
              <a:lnSpc>
                <a:spcPct val="90000"/>
              </a:lnSpc>
              <a:spcAft>
                <a:spcPts val="600"/>
              </a:spcAft>
              <a:buFont typeface="Arial" panose="020B0604020202020204" pitchFamily="34" charset="0"/>
              <a:buChar char="•"/>
            </a:pPr>
            <a:r>
              <a:rPr lang="en-US" dirty="0" err="1">
                <a:gradFill>
                  <a:gsLst>
                    <a:gs pos="2917">
                      <a:schemeClr val="tx2"/>
                    </a:gs>
                    <a:gs pos="30000">
                      <a:schemeClr val="tx2"/>
                    </a:gs>
                  </a:gsLst>
                  <a:lin ang="5400000" scaled="0"/>
                </a:gradFill>
                <a:latin typeface="+mn-lt"/>
              </a:rPr>
              <a:t>Stateful</a:t>
            </a:r>
            <a:r>
              <a:rPr lang="en-US" dirty="0">
                <a:gradFill>
                  <a:gsLst>
                    <a:gs pos="2917">
                      <a:schemeClr val="tx2"/>
                    </a:gs>
                    <a:gs pos="30000">
                      <a:schemeClr val="tx2"/>
                    </a:gs>
                  </a:gsLst>
                  <a:lin ang="5400000" scaled="0"/>
                </a:gradFill>
                <a:latin typeface="+mn-lt"/>
              </a:rPr>
              <a:t> Query Logic – ameliorate with partitioning</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Windowed Aggregates </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Joins</a:t>
            </a:r>
          </a:p>
          <a:p>
            <a:pPr marL="800100" lvl="1"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Temporal Analytic Functions</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Out of Order Buffer</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Input Buffer Count</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Reference Data</a:t>
            </a:r>
          </a:p>
          <a:p>
            <a:pPr marL="342900" indent="-342900">
              <a:lnSpc>
                <a:spcPct val="90000"/>
              </a:lnSpc>
              <a:spcAft>
                <a:spcPts val="600"/>
              </a:spcAft>
              <a:buFont typeface="Arial" panose="020B0604020202020204" pitchFamily="34" charset="0"/>
              <a:buChar char="•"/>
            </a:pPr>
            <a:r>
              <a:rPr lang="en-US" dirty="0">
                <a:gradFill>
                  <a:gsLst>
                    <a:gs pos="2917">
                      <a:schemeClr val="tx2"/>
                    </a:gs>
                    <a:gs pos="30000">
                      <a:schemeClr val="tx2"/>
                    </a:gs>
                  </a:gsLst>
                  <a:lin ang="5400000" scaled="0"/>
                </a:gradFill>
              </a:rPr>
              <a:t>User Defined Functions</a:t>
            </a: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endParaRPr>
          </a:p>
          <a:p>
            <a:pPr marL="800100" lvl="1" indent="-342900">
              <a:lnSpc>
                <a:spcPct val="90000"/>
              </a:lnSpc>
              <a:spcAft>
                <a:spcPts val="600"/>
              </a:spcAft>
              <a:buFont typeface="Arial" panose="020B0604020202020204" pitchFamily="34" charset="0"/>
              <a:buChar char="•"/>
            </a:pPr>
            <a:endParaRPr lang="en-US" sz="2400" dirty="0">
              <a:gradFill>
                <a:gsLst>
                  <a:gs pos="2917">
                    <a:schemeClr val="tx2"/>
                  </a:gs>
                  <a:gs pos="30000">
                    <a:schemeClr val="tx2"/>
                  </a:gs>
                </a:gsLst>
                <a:lin ang="5400000" scaled="0"/>
              </a:gradFill>
              <a:latin typeface="+mn-lt"/>
            </a:endParaRPr>
          </a:p>
        </p:txBody>
      </p:sp>
    </p:spTree>
    <p:extLst>
      <p:ext uri="{BB962C8B-B14F-4D97-AF65-F5344CB8AC3E}">
        <p14:creationId xmlns:p14="http://schemas.microsoft.com/office/powerpoint/2010/main" val="3792967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dirty="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37162640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377" imgH="377" progId="TCLayout.ActiveDocument.1">
                  <p:embed/>
                </p:oleObj>
              </mc:Choice>
              <mc:Fallback>
                <p:oleObj name="think-cell Slide" r:id="rId4" imgW="377" imgH="377" progId="TCLayout.ActiveDocument.1">
                  <p:embed/>
                  <p:pic>
                    <p:nvPicPr>
                      <p:cNvPr id="31" name="Object 30" hidden="1"/>
                      <p:cNvPicPr/>
                      <p:nvPr/>
                    </p:nvPicPr>
                    <p:blipFill>
                      <a:blip r:embed="rId5"/>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pache HBase: What is it?</a:t>
            </a:r>
          </a:p>
        </p:txBody>
      </p:sp>
      <p:sp>
        <p:nvSpPr>
          <p:cNvPr id="20" name="Rectangle 19"/>
          <p:cNvSpPr/>
          <p:nvPr/>
        </p:nvSpPr>
        <p:spPr>
          <a:xfrm>
            <a:off x="457201" y="1366281"/>
            <a:ext cx="11246850" cy="407660"/>
          </a:xfrm>
          <a:prstGeom prst="rect">
            <a:avLst/>
          </a:prstGeom>
          <a:solidFill>
            <a:schemeClr val="accent3"/>
          </a:solidFill>
          <a:ln w="3175">
            <a:noFill/>
          </a:ln>
        </p:spPr>
        <p:txBody>
          <a:bodyPr wrap="square" lIns="0" tIns="0" rIns="0" bIns="0">
            <a:noAutofit/>
          </a:bodyPr>
          <a:lstStyle/>
          <a:p>
            <a:pPr marL="0" marR="0" lvl="1" indent="0" algn="ctr"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FFFFFF"/>
                </a:solidFill>
                <a:effectLst/>
                <a:uLnTx/>
                <a:uFillTx/>
                <a:latin typeface="Segoe UI Light"/>
                <a:ea typeface="Segoe UI" pitchFamily="34" charset="0"/>
                <a:cs typeface="Segoe UI Semibold" panose="020B0702040204020203" pitchFamily="34" charset="0"/>
              </a:rPr>
              <a:t>A distributed, columnar, NoSQL database based on Hadoop </a:t>
            </a:r>
          </a:p>
        </p:txBody>
      </p:sp>
      <p:sp>
        <p:nvSpPr>
          <p:cNvPr id="23" name="Rectangle 22"/>
          <p:cNvSpPr/>
          <p:nvPr/>
        </p:nvSpPr>
        <p:spPr>
          <a:xfrm>
            <a:off x="567587" y="2255706"/>
            <a:ext cx="5606771" cy="3853260"/>
          </a:xfrm>
          <a:prstGeom prst="rect">
            <a:avLst/>
          </a:prstGeom>
          <a:noFill/>
          <a:ln w="3175">
            <a:noFill/>
          </a:ln>
        </p:spPr>
        <p:txBody>
          <a:bodyPr wrap="square" lIns="0" tIns="0" rIns="0" bIns="0">
            <a:noAutofit/>
          </a:bodyPr>
          <a:lstStyle/>
          <a:p>
            <a:pPr marL="342900" marR="0" lvl="1" indent="-342900" algn="l" defTabSz="913770" rtl="0" eaLnBrk="1" fontAlgn="base" latinLnBrk="0" hangingPunct="1">
              <a:lnSpc>
                <a:spcPct val="100000"/>
              </a:lnSpc>
              <a:spcBef>
                <a:spcPts val="588"/>
              </a:spcBef>
              <a:spcAft>
                <a:spcPts val="0"/>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arge scale</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Linear scalability with automatic partitioning</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Billions of rows X millions of column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Many deployments with 1000+ nodes, PBs of data</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ow </a:t>
            </a:r>
            <a:r>
              <a:rPr kumimoji="0" lang="en-IN" sz="2000" b="0" i="0" u="none" strike="noStrike" kern="1200" cap="none" spc="0" normalizeH="0" baseline="0" noProof="0" dirty="0" err="1">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latencty</a:t>
            </a:r>
            <a:endPar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endParaRP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765"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Real-time random read &amp; writes</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Strongly consistent Read and Writes</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Supports Transactions (not fully ACID)</a:t>
            </a:r>
          </a:p>
          <a:p>
            <a:pPr marL="342900" marR="0" lvl="1" indent="-342900" algn="l" defTabSz="913770" rtl="0" eaLnBrk="1" fontAlgn="base" latinLnBrk="0" hangingPunct="1">
              <a:lnSpc>
                <a:spcPct val="100000"/>
              </a:lnSpc>
              <a:spcBef>
                <a:spcPts val="588"/>
              </a:spcBef>
              <a:spcAft>
                <a:spcPts val="196"/>
              </a:spcAft>
              <a:buClr>
                <a:srgbClr val="68217A">
                  <a:lumMod val="50000"/>
                </a:srgbClr>
              </a:buClr>
              <a:buSzPct val="75000"/>
              <a:buFont typeface="Wingdings" panose="05000000000000000000" pitchFamily="2" charset="2"/>
              <a:buChar char="v"/>
              <a:tabLst>
                <a:tab pos="645523" algn="l"/>
              </a:tabLst>
              <a:defRPr/>
            </a:pPr>
            <a:r>
              <a:rPr kumimoji="0" lang="en-IN" sz="2000" b="0" i="0" u="none" strike="noStrike" kern="1200" cap="none" spc="0" normalizeH="0" baseline="0" noProof="0" dirty="0">
                <a:ln>
                  <a:noFill/>
                </a:ln>
                <a:solidFill>
                  <a:srgbClr val="000000">
                    <a:lumMod val="65000"/>
                    <a:lumOff val="35000"/>
                  </a:srgbClr>
                </a:solidFill>
                <a:effectLst/>
                <a:uLnTx/>
                <a:uFillTx/>
                <a:latin typeface="Segoe UI Semibold" panose="020B0702040204020203" pitchFamily="34" charset="0"/>
                <a:ea typeface="Segoe UI" pitchFamily="34" charset="0"/>
                <a:cs typeface="Segoe UI Semibold" panose="020B0702040204020203" pitchFamily="34" charset="0"/>
              </a:rPr>
              <a:t>Reliable and Fault Tolerant</a:t>
            </a:r>
          </a:p>
          <a:p>
            <a:pPr marL="548640" marR="0" lvl="2" indent="-285750" algn="l" defTabSz="913770" rtl="0" eaLnBrk="1" fontAlgn="base" latinLnBrk="0" hangingPunct="1">
              <a:lnSpc>
                <a:spcPct val="100000"/>
              </a:lnSpc>
              <a:spcBef>
                <a:spcPts val="196"/>
              </a:spcBef>
              <a:spcAft>
                <a:spcPts val="196"/>
              </a:spcAft>
              <a:buClr>
                <a:srgbClr val="68217A">
                  <a:lumMod val="50000"/>
                </a:srgbClr>
              </a:buClr>
              <a:buSzTx/>
              <a:buFont typeface="Wingdings" panose="05000000000000000000" pitchFamily="2" charset="2"/>
              <a:buChar char="§"/>
              <a:tabLst>
                <a:tab pos="645523" algn="l"/>
              </a:tabLst>
              <a:defRPr/>
            </a:pPr>
            <a:r>
              <a:rPr kumimoji="0" lang="en-IN" sz="1800"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Automatic failover in case of server failures</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49</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 name="Group 3"/>
          <p:cNvGrpSpPr/>
          <p:nvPr/>
        </p:nvGrpSpPr>
        <p:grpSpPr>
          <a:xfrm>
            <a:off x="7352200" y="2405758"/>
            <a:ext cx="3179166" cy="3400166"/>
            <a:chOff x="7005358" y="2220241"/>
            <a:chExt cx="4318839" cy="4471072"/>
          </a:xfrm>
        </p:grpSpPr>
        <p:sp>
          <p:nvSpPr>
            <p:cNvPr id="32" name="Freeform 31"/>
            <p:cNvSpPr/>
            <p:nvPr/>
          </p:nvSpPr>
          <p:spPr>
            <a:xfrm flipH="1">
              <a:off x="10197016" y="3371710"/>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33"/>
            <p:cNvSpPr/>
            <p:nvPr/>
          </p:nvSpPr>
          <p:spPr>
            <a:xfrm flipH="1">
              <a:off x="7005358" y="3555225"/>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34"/>
            <p:cNvSpPr/>
            <p:nvPr/>
          </p:nvSpPr>
          <p:spPr>
            <a:xfrm flipH="1">
              <a:off x="7769399" y="5353104"/>
              <a:ext cx="421451" cy="616665"/>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7"/>
            <p:cNvSpPr/>
            <p:nvPr/>
          </p:nvSpPr>
          <p:spPr>
            <a:xfrm flipH="1">
              <a:off x="10691090" y="2220242"/>
              <a:ext cx="633107" cy="926358"/>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8"/>
            <p:cNvSpPr/>
            <p:nvPr/>
          </p:nvSpPr>
          <p:spPr>
            <a:xfrm flipH="1">
              <a:off x="8992872" y="2220241"/>
              <a:ext cx="296948" cy="434492"/>
            </a:xfrm>
            <a:custGeom>
              <a:avLst/>
              <a:gdLst>
                <a:gd name="connsiteX0" fmla="*/ 3284673 w 3284673"/>
                <a:gd name="connsiteY0" fmla="*/ 701841 h 4806110"/>
                <a:gd name="connsiteX1" fmla="*/ 3284671 w 3284673"/>
                <a:gd name="connsiteY1" fmla="*/ 701843 h 4806110"/>
                <a:gd name="connsiteX2" fmla="*/ 3284671 w 3284673"/>
                <a:gd name="connsiteY2" fmla="*/ 701841 h 4806110"/>
                <a:gd name="connsiteX3" fmla="*/ 3284669 w 3284673"/>
                <a:gd name="connsiteY3" fmla="*/ 701842 h 4806110"/>
                <a:gd name="connsiteX4" fmla="*/ 3284669 w 3284673"/>
                <a:gd name="connsiteY4" fmla="*/ 701841 h 4806110"/>
                <a:gd name="connsiteX5" fmla="*/ 3195823 w 3284673"/>
                <a:gd name="connsiteY5" fmla="*/ 779666 h 4806110"/>
                <a:gd name="connsiteX6" fmla="*/ 2143690 w 3284673"/>
                <a:gd name="connsiteY6" fmla="*/ 1039044 h 4806110"/>
                <a:gd name="connsiteX7" fmla="*/ 1642337 w 3284673"/>
                <a:gd name="connsiteY7" fmla="*/ 1059655 h 4806110"/>
                <a:gd name="connsiteX8" fmla="*/ 1140983 w 3284673"/>
                <a:gd name="connsiteY8" fmla="*/ 1039044 h 4806110"/>
                <a:gd name="connsiteX9" fmla="*/ 508725 w 3284673"/>
                <a:gd name="connsiteY9" fmla="*/ 940562 h 4806110"/>
                <a:gd name="connsiteX10" fmla="*/ 395039 w 3284673"/>
                <a:gd name="connsiteY10" fmla="*/ 909279 h 4806110"/>
                <a:gd name="connsiteX11" fmla="*/ 380829 w 3284673"/>
                <a:gd name="connsiteY11" fmla="*/ 905369 h 4806110"/>
                <a:gd name="connsiteX12" fmla="*/ 88851 w 3284673"/>
                <a:gd name="connsiteY12" fmla="*/ 779666 h 4806110"/>
                <a:gd name="connsiteX13" fmla="*/ 59720 w 3284673"/>
                <a:gd name="connsiteY13" fmla="*/ 754150 h 4806110"/>
                <a:gd name="connsiteX14" fmla="*/ 4 w 3284673"/>
                <a:gd name="connsiteY14" fmla="*/ 701841 h 4806110"/>
                <a:gd name="connsiteX15" fmla="*/ 4 w 3284673"/>
                <a:gd name="connsiteY15" fmla="*/ 701842 h 4806110"/>
                <a:gd name="connsiteX16" fmla="*/ 2 w 3284673"/>
                <a:gd name="connsiteY16" fmla="*/ 701841 h 4806110"/>
                <a:gd name="connsiteX17" fmla="*/ 2 w 3284673"/>
                <a:gd name="connsiteY17" fmla="*/ 701843 h 4806110"/>
                <a:gd name="connsiteX18" fmla="*/ 0 w 3284673"/>
                <a:gd name="connsiteY18" fmla="*/ 701841 h 4806110"/>
                <a:gd name="connsiteX19" fmla="*/ 0 w 3284673"/>
                <a:gd name="connsiteY19" fmla="*/ 1053189 h 4806110"/>
                <a:gd name="connsiteX20" fmla="*/ 2 w 3284673"/>
                <a:gd name="connsiteY20" fmla="*/ 1053191 h 4806110"/>
                <a:gd name="connsiteX21" fmla="*/ 2 w 3284673"/>
                <a:gd name="connsiteY21" fmla="*/ 1918845 h 4806110"/>
                <a:gd name="connsiteX22" fmla="*/ 2 w 3284673"/>
                <a:gd name="connsiteY22" fmla="*/ 2181795 h 4806110"/>
                <a:gd name="connsiteX23" fmla="*/ 2 w 3284673"/>
                <a:gd name="connsiteY23" fmla="*/ 2551024 h 4806110"/>
                <a:gd name="connsiteX24" fmla="*/ 4 w 3284673"/>
                <a:gd name="connsiteY24" fmla="*/ 2551025 h 4806110"/>
                <a:gd name="connsiteX25" fmla="*/ 4 w 3284673"/>
                <a:gd name="connsiteY25" fmla="*/ 2920828 h 4806110"/>
                <a:gd name="connsiteX26" fmla="*/ 4 w 3284673"/>
                <a:gd name="connsiteY26" fmla="*/ 3146226 h 4806110"/>
                <a:gd name="connsiteX27" fmla="*/ 0 w 3284673"/>
                <a:gd name="connsiteY27" fmla="*/ 3146222 h 4806110"/>
                <a:gd name="connsiteX28" fmla="*/ 0 w 3284673"/>
                <a:gd name="connsiteY28" fmla="*/ 3169359 h 4806110"/>
                <a:gd name="connsiteX29" fmla="*/ 4 w 3284673"/>
                <a:gd name="connsiteY29" fmla="*/ 3169359 h 4806110"/>
                <a:gd name="connsiteX30" fmla="*/ 4 w 3284673"/>
                <a:gd name="connsiteY30" fmla="*/ 3398798 h 4806110"/>
                <a:gd name="connsiteX31" fmla="*/ 4 w 3284673"/>
                <a:gd name="connsiteY31" fmla="*/ 3719407 h 4806110"/>
                <a:gd name="connsiteX32" fmla="*/ 0 w 3284673"/>
                <a:gd name="connsiteY32" fmla="*/ 3719407 h 4806110"/>
                <a:gd name="connsiteX33" fmla="*/ 0 w 3284673"/>
                <a:gd name="connsiteY33" fmla="*/ 4400783 h 4806110"/>
                <a:gd name="connsiteX34" fmla="*/ 1642335 w 3284673"/>
                <a:gd name="connsiteY34" fmla="*/ 4806110 h 4806110"/>
                <a:gd name="connsiteX35" fmla="*/ 1642339 w 3284673"/>
                <a:gd name="connsiteY35" fmla="*/ 4806110 h 4806110"/>
                <a:gd name="connsiteX36" fmla="*/ 3284673 w 3284673"/>
                <a:gd name="connsiteY36" fmla="*/ 4400783 h 4806110"/>
                <a:gd name="connsiteX37" fmla="*/ 3284673 w 3284673"/>
                <a:gd name="connsiteY37" fmla="*/ 3719407 h 4806110"/>
                <a:gd name="connsiteX38" fmla="*/ 3284669 w 3284673"/>
                <a:gd name="connsiteY38" fmla="*/ 3719407 h 4806110"/>
                <a:gd name="connsiteX39" fmla="*/ 3284669 w 3284673"/>
                <a:gd name="connsiteY39" fmla="*/ 3398798 h 4806110"/>
                <a:gd name="connsiteX40" fmla="*/ 3284669 w 3284673"/>
                <a:gd name="connsiteY40" fmla="*/ 3169359 h 4806110"/>
                <a:gd name="connsiteX41" fmla="*/ 3284673 w 3284673"/>
                <a:gd name="connsiteY41" fmla="*/ 3169359 h 4806110"/>
                <a:gd name="connsiteX42" fmla="*/ 3284673 w 3284673"/>
                <a:gd name="connsiteY42" fmla="*/ 3146222 h 4806110"/>
                <a:gd name="connsiteX43" fmla="*/ 3284669 w 3284673"/>
                <a:gd name="connsiteY43" fmla="*/ 3146226 h 4806110"/>
                <a:gd name="connsiteX44" fmla="*/ 3284669 w 3284673"/>
                <a:gd name="connsiteY44" fmla="*/ 2920828 h 4806110"/>
                <a:gd name="connsiteX45" fmla="*/ 3284669 w 3284673"/>
                <a:gd name="connsiteY45" fmla="*/ 2551025 h 4806110"/>
                <a:gd name="connsiteX46" fmla="*/ 3284671 w 3284673"/>
                <a:gd name="connsiteY46" fmla="*/ 2551024 h 4806110"/>
                <a:gd name="connsiteX47" fmla="*/ 3284671 w 3284673"/>
                <a:gd name="connsiteY47" fmla="*/ 2181795 h 4806110"/>
                <a:gd name="connsiteX48" fmla="*/ 3284671 w 3284673"/>
                <a:gd name="connsiteY48" fmla="*/ 1918845 h 4806110"/>
                <a:gd name="connsiteX49" fmla="*/ 3284671 w 3284673"/>
                <a:gd name="connsiteY49" fmla="*/ 1053191 h 4806110"/>
                <a:gd name="connsiteX50" fmla="*/ 3284673 w 3284673"/>
                <a:gd name="connsiteY50" fmla="*/ 1053189 h 4806110"/>
                <a:gd name="connsiteX51" fmla="*/ 1642339 w 3284673"/>
                <a:gd name="connsiteY51" fmla="*/ 0 h 4806110"/>
                <a:gd name="connsiteX52" fmla="*/ 1642335 w 3284673"/>
                <a:gd name="connsiteY52" fmla="*/ 0 h 4806110"/>
                <a:gd name="connsiteX53" fmla="*/ 0 w 3284673"/>
                <a:gd name="connsiteY53" fmla="*/ 458431 h 4806110"/>
                <a:gd name="connsiteX54" fmla="*/ 1642335 w 3284673"/>
                <a:gd name="connsiteY54" fmla="*/ 916862 h 4806110"/>
                <a:gd name="connsiteX55" fmla="*/ 1642339 w 3284673"/>
                <a:gd name="connsiteY55" fmla="*/ 916862 h 4806110"/>
                <a:gd name="connsiteX56" fmla="*/ 3284673 w 3284673"/>
                <a:gd name="connsiteY56" fmla="*/ 458431 h 4806110"/>
                <a:gd name="connsiteX57" fmla="*/ 1642339 w 3284673"/>
                <a:gd name="connsiteY57" fmla="*/ 0 h 480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4673" h="4806110">
                  <a:moveTo>
                    <a:pt x="3284673" y="701841"/>
                  </a:moveTo>
                  <a:lnTo>
                    <a:pt x="3284671" y="701843"/>
                  </a:lnTo>
                  <a:lnTo>
                    <a:pt x="3284671" y="701841"/>
                  </a:lnTo>
                  <a:lnTo>
                    <a:pt x="3284669" y="701842"/>
                  </a:lnTo>
                  <a:lnTo>
                    <a:pt x="3284669" y="701841"/>
                  </a:lnTo>
                  <a:lnTo>
                    <a:pt x="3195823" y="779666"/>
                  </a:lnTo>
                  <a:cubicBezTo>
                    <a:pt x="3003862" y="903069"/>
                    <a:pt x="2618829" y="998859"/>
                    <a:pt x="2143690" y="1039044"/>
                  </a:cubicBezTo>
                  <a:lnTo>
                    <a:pt x="1642337" y="1059655"/>
                  </a:lnTo>
                  <a:lnTo>
                    <a:pt x="1140983" y="1039044"/>
                  </a:lnTo>
                  <a:cubicBezTo>
                    <a:pt x="903413" y="1018952"/>
                    <a:pt x="688370" y="984958"/>
                    <a:pt x="508725" y="940562"/>
                  </a:cubicBezTo>
                  <a:lnTo>
                    <a:pt x="395039" y="909279"/>
                  </a:lnTo>
                  <a:lnTo>
                    <a:pt x="380829" y="905369"/>
                  </a:lnTo>
                  <a:cubicBezTo>
                    <a:pt x="259972" y="868335"/>
                    <a:pt x="160836" y="825942"/>
                    <a:pt x="88851" y="779666"/>
                  </a:cubicBezTo>
                  <a:lnTo>
                    <a:pt x="59720" y="754150"/>
                  </a:lnTo>
                  <a:lnTo>
                    <a:pt x="4" y="701841"/>
                  </a:lnTo>
                  <a:lnTo>
                    <a:pt x="4" y="701842"/>
                  </a:lnTo>
                  <a:lnTo>
                    <a:pt x="2" y="701841"/>
                  </a:lnTo>
                  <a:lnTo>
                    <a:pt x="2" y="701843"/>
                  </a:lnTo>
                  <a:lnTo>
                    <a:pt x="0" y="701841"/>
                  </a:lnTo>
                  <a:lnTo>
                    <a:pt x="0" y="1053189"/>
                  </a:lnTo>
                  <a:lnTo>
                    <a:pt x="2" y="1053191"/>
                  </a:lnTo>
                  <a:lnTo>
                    <a:pt x="2" y="1918845"/>
                  </a:lnTo>
                  <a:lnTo>
                    <a:pt x="2" y="2181795"/>
                  </a:lnTo>
                  <a:lnTo>
                    <a:pt x="2" y="2551024"/>
                  </a:lnTo>
                  <a:lnTo>
                    <a:pt x="4" y="2551025"/>
                  </a:lnTo>
                  <a:lnTo>
                    <a:pt x="4" y="2920828"/>
                  </a:lnTo>
                  <a:lnTo>
                    <a:pt x="4" y="3146226"/>
                  </a:lnTo>
                  <a:lnTo>
                    <a:pt x="0" y="3146222"/>
                  </a:lnTo>
                  <a:lnTo>
                    <a:pt x="0" y="3169359"/>
                  </a:lnTo>
                  <a:lnTo>
                    <a:pt x="4" y="3169359"/>
                  </a:lnTo>
                  <a:lnTo>
                    <a:pt x="4" y="3398798"/>
                  </a:lnTo>
                  <a:lnTo>
                    <a:pt x="4" y="3719407"/>
                  </a:lnTo>
                  <a:lnTo>
                    <a:pt x="0" y="3719407"/>
                  </a:lnTo>
                  <a:lnTo>
                    <a:pt x="0" y="4400783"/>
                  </a:lnTo>
                  <a:cubicBezTo>
                    <a:pt x="0" y="4624721"/>
                    <a:pt x="735436" y="4806110"/>
                    <a:pt x="1642335" y="4806110"/>
                  </a:cubicBezTo>
                  <a:lnTo>
                    <a:pt x="1642339" y="4806110"/>
                  </a:lnTo>
                  <a:cubicBezTo>
                    <a:pt x="2549237" y="4806110"/>
                    <a:pt x="3284673" y="4624721"/>
                    <a:pt x="3284673" y="4400783"/>
                  </a:cubicBezTo>
                  <a:lnTo>
                    <a:pt x="3284673" y="3719407"/>
                  </a:lnTo>
                  <a:lnTo>
                    <a:pt x="3284669" y="3719407"/>
                  </a:lnTo>
                  <a:lnTo>
                    <a:pt x="3284669" y="3398798"/>
                  </a:lnTo>
                  <a:lnTo>
                    <a:pt x="3284669" y="3169359"/>
                  </a:lnTo>
                  <a:lnTo>
                    <a:pt x="3284673" y="3169359"/>
                  </a:lnTo>
                  <a:lnTo>
                    <a:pt x="3284673" y="3146222"/>
                  </a:lnTo>
                  <a:lnTo>
                    <a:pt x="3284669" y="3146226"/>
                  </a:lnTo>
                  <a:lnTo>
                    <a:pt x="3284669" y="2920828"/>
                  </a:lnTo>
                  <a:lnTo>
                    <a:pt x="3284669" y="2551025"/>
                  </a:lnTo>
                  <a:lnTo>
                    <a:pt x="3284671" y="2551024"/>
                  </a:lnTo>
                  <a:lnTo>
                    <a:pt x="3284671" y="2181795"/>
                  </a:lnTo>
                  <a:lnTo>
                    <a:pt x="3284671" y="1918845"/>
                  </a:lnTo>
                  <a:lnTo>
                    <a:pt x="3284671" y="1053191"/>
                  </a:lnTo>
                  <a:lnTo>
                    <a:pt x="3284673" y="1053189"/>
                  </a:lnTo>
                  <a:close/>
                  <a:moveTo>
                    <a:pt x="1642339" y="0"/>
                  </a:moveTo>
                  <a:lnTo>
                    <a:pt x="1642335" y="0"/>
                  </a:lnTo>
                  <a:cubicBezTo>
                    <a:pt x="735297" y="0"/>
                    <a:pt x="0" y="205248"/>
                    <a:pt x="0" y="458431"/>
                  </a:cubicBezTo>
                  <a:cubicBezTo>
                    <a:pt x="0" y="711614"/>
                    <a:pt x="735297" y="916862"/>
                    <a:pt x="1642335" y="916862"/>
                  </a:cubicBezTo>
                  <a:lnTo>
                    <a:pt x="1642339" y="916862"/>
                  </a:lnTo>
                  <a:cubicBezTo>
                    <a:pt x="2549376" y="916862"/>
                    <a:pt x="3284673" y="711614"/>
                    <a:pt x="3284673" y="458431"/>
                  </a:cubicBezTo>
                  <a:cubicBezTo>
                    <a:pt x="3284673" y="205248"/>
                    <a:pt x="2549376" y="0"/>
                    <a:pt x="164233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39"/>
            <p:cNvSpPr/>
            <p:nvPr/>
          </p:nvSpPr>
          <p:spPr bwMode="auto">
            <a:xfrm>
              <a:off x="10197016" y="5377078"/>
              <a:ext cx="988148" cy="1314235"/>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 name="Freeform 40"/>
            <p:cNvSpPr/>
            <p:nvPr/>
          </p:nvSpPr>
          <p:spPr bwMode="auto">
            <a:xfrm>
              <a:off x="7011318" y="5686172"/>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2" name="Freeform 41"/>
            <p:cNvSpPr/>
            <p:nvPr/>
          </p:nvSpPr>
          <p:spPr bwMode="auto">
            <a:xfrm>
              <a:off x="7983296" y="2570870"/>
              <a:ext cx="635781" cy="845588"/>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3" name="Freeform 42"/>
            <p:cNvSpPr/>
            <p:nvPr/>
          </p:nvSpPr>
          <p:spPr bwMode="auto">
            <a:xfrm>
              <a:off x="9205194" y="307273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4" name="Freeform 43"/>
            <p:cNvSpPr/>
            <p:nvPr/>
          </p:nvSpPr>
          <p:spPr bwMode="auto">
            <a:xfrm>
              <a:off x="10850292"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5" name="Freeform 44"/>
            <p:cNvSpPr/>
            <p:nvPr/>
          </p:nvSpPr>
          <p:spPr bwMode="auto">
            <a:xfrm>
              <a:off x="7815860" y="4540103"/>
              <a:ext cx="334872" cy="445380"/>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6" name="Group 45"/>
            <p:cNvGrpSpPr/>
            <p:nvPr/>
          </p:nvGrpSpPr>
          <p:grpSpPr>
            <a:xfrm>
              <a:off x="8349049" y="3807749"/>
              <a:ext cx="1670243" cy="2221423"/>
              <a:chOff x="8732614" y="3158668"/>
              <a:chExt cx="1703735" cy="2265967"/>
            </a:xfrm>
          </p:grpSpPr>
          <p:sp>
            <p:nvSpPr>
              <p:cNvPr id="47" name="Freeform 46"/>
              <p:cNvSpPr/>
              <p:nvPr/>
            </p:nvSpPr>
            <p:spPr bwMode="auto">
              <a:xfrm>
                <a:off x="8732614" y="3158668"/>
                <a:ext cx="1703735" cy="2265967"/>
              </a:xfrm>
              <a:custGeom>
                <a:avLst/>
                <a:gdLst>
                  <a:gd name="connsiteX0" fmla="*/ 460324 w 914400"/>
                  <a:gd name="connsiteY0" fmla="*/ 48397 h 1216152"/>
                  <a:gd name="connsiteX1" fmla="*/ 76152 w 914400"/>
                  <a:gd name="connsiteY1" fmla="*/ 179523 h 1216152"/>
                  <a:gd name="connsiteX2" fmla="*/ 460324 w 914400"/>
                  <a:gd name="connsiteY2" fmla="*/ 310649 h 1216152"/>
                  <a:gd name="connsiteX3" fmla="*/ 844496 w 914400"/>
                  <a:gd name="connsiteY3" fmla="*/ 179523 h 1216152"/>
                  <a:gd name="connsiteX4" fmla="*/ 460324 w 914400"/>
                  <a:gd name="connsiteY4" fmla="*/ 48397 h 1216152"/>
                  <a:gd name="connsiteX5" fmla="*/ 457200 w 914400"/>
                  <a:gd name="connsiteY5" fmla="*/ 0 h 1216152"/>
                  <a:gd name="connsiteX6" fmla="*/ 914400 w 914400"/>
                  <a:gd name="connsiteY6" fmla="*/ 178121 h 1216152"/>
                  <a:gd name="connsiteX7" fmla="*/ 914400 w 914400"/>
                  <a:gd name="connsiteY7" fmla="*/ 1038031 h 1216152"/>
                  <a:gd name="connsiteX8" fmla="*/ 457200 w 914400"/>
                  <a:gd name="connsiteY8" fmla="*/ 1216152 h 1216152"/>
                  <a:gd name="connsiteX9" fmla="*/ 279237 w 914400"/>
                  <a:gd name="connsiteY9" fmla="*/ 1202155 h 1216152"/>
                  <a:gd name="connsiteX10" fmla="*/ 201575 w 914400"/>
                  <a:gd name="connsiteY10" fmla="*/ 1185732 h 1216152"/>
                  <a:gd name="connsiteX11" fmla="*/ 0 w 914400"/>
                  <a:gd name="connsiteY11" fmla="*/ 1038031 h 1216152"/>
                  <a:gd name="connsiteX12" fmla="*/ 0 w 914400"/>
                  <a:gd name="connsiteY12" fmla="*/ 178121 h 1216152"/>
                  <a:gd name="connsiteX13" fmla="*/ 0 w 914400"/>
                  <a:gd name="connsiteY13" fmla="*/ 178121 h 1216152"/>
                  <a:gd name="connsiteX14" fmla="*/ 457200 w 914400"/>
                  <a:gd name="connsiteY14"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 h="1216152">
                    <a:moveTo>
                      <a:pt x="460324" y="48397"/>
                    </a:moveTo>
                    <a:cubicBezTo>
                      <a:pt x="248152" y="48397"/>
                      <a:pt x="76152" y="107104"/>
                      <a:pt x="76152" y="179523"/>
                    </a:cubicBezTo>
                    <a:cubicBezTo>
                      <a:pt x="76152" y="251942"/>
                      <a:pt x="248152" y="310649"/>
                      <a:pt x="460324" y="310649"/>
                    </a:cubicBezTo>
                    <a:cubicBezTo>
                      <a:pt x="672496" y="310649"/>
                      <a:pt x="844496" y="251942"/>
                      <a:pt x="844496" y="179523"/>
                    </a:cubicBezTo>
                    <a:cubicBezTo>
                      <a:pt x="844496" y="107104"/>
                      <a:pt x="672496" y="48397"/>
                      <a:pt x="460324" y="48397"/>
                    </a:cubicBezTo>
                    <a:close/>
                    <a:moveTo>
                      <a:pt x="457200" y="0"/>
                    </a:moveTo>
                    <a:cubicBezTo>
                      <a:pt x="709705" y="0"/>
                      <a:pt x="914400" y="79747"/>
                      <a:pt x="914400" y="178121"/>
                    </a:cubicBezTo>
                    <a:lnTo>
                      <a:pt x="914400" y="1038031"/>
                    </a:lnTo>
                    <a:cubicBezTo>
                      <a:pt x="914400" y="1136405"/>
                      <a:pt x="709705" y="1216152"/>
                      <a:pt x="457200" y="1216152"/>
                    </a:cubicBezTo>
                    <a:cubicBezTo>
                      <a:pt x="394074" y="1216152"/>
                      <a:pt x="333936" y="1211168"/>
                      <a:pt x="279237" y="1202155"/>
                    </a:cubicBezTo>
                    <a:cubicBezTo>
                      <a:pt x="251888" y="1197648"/>
                      <a:pt x="225898" y="1192134"/>
                      <a:pt x="201575" y="1185732"/>
                    </a:cubicBezTo>
                    <a:cubicBezTo>
                      <a:pt x="79959" y="1153723"/>
                      <a:pt x="0" y="1099515"/>
                      <a:pt x="0" y="1038031"/>
                    </a:cubicBezTo>
                    <a:lnTo>
                      <a:pt x="0" y="178121"/>
                    </a:lnTo>
                    <a:lnTo>
                      <a:pt x="0" y="178121"/>
                    </a:lnTo>
                    <a:cubicBezTo>
                      <a:pt x="0" y="79747"/>
                      <a:pt x="204695" y="0"/>
                      <a:pt x="4572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3137"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48"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39691" y="4287387"/>
                <a:ext cx="1489581" cy="270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0" name="Rectangle 49"/>
          <p:cNvSpPr/>
          <p:nvPr/>
        </p:nvSpPr>
        <p:spPr>
          <a:xfrm>
            <a:off x="2866696" y="7181363"/>
            <a:ext cx="5266225" cy="1075710"/>
          </a:xfrm>
          <a:prstGeom prst="rect">
            <a:avLst/>
          </a:prstGeom>
          <a:noFill/>
          <a:ln w="3175">
            <a:noFill/>
          </a:ln>
        </p:spPr>
        <p:txBody>
          <a:bodyPr wrap="square" lIns="0" tIns="0" rIns="0" bIns="0">
            <a:noAutofit/>
          </a:bodyPr>
          <a:lstStyle/>
          <a:p>
            <a:pPr marL="0" marR="0" lvl="1" indent="0" algn="l" defTabSz="913770" rtl="0" eaLnBrk="1" fontAlgn="base" latinLnBrk="0" hangingPunct="1">
              <a:lnSpc>
                <a:spcPct val="100000"/>
              </a:lnSpc>
              <a:spcBef>
                <a:spcPts val="588"/>
              </a:spcBef>
              <a:spcAft>
                <a:spcPts val="0"/>
              </a:spcAft>
              <a:buClr>
                <a:srgbClr val="68217A">
                  <a:lumMod val="50000"/>
                </a:srgbClr>
              </a:buClr>
              <a:buSzTx/>
              <a:buFontTx/>
              <a:buNone/>
              <a:tabLst>
                <a:tab pos="645523" algn="l"/>
              </a:tabLst>
              <a:defRPr/>
            </a:pPr>
            <a:r>
              <a:rPr kumimoji="0" lang="en-IN" sz="2353" b="0" i="0" u="none" strike="noStrike" kern="120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Open source</a:t>
            </a:r>
          </a:p>
          <a:p>
            <a:pPr marL="0" marR="0" lvl="1" indent="0" algn="l" defTabSz="913770" rtl="0" eaLnBrk="1" fontAlgn="base" latinLnBrk="0" hangingPunct="1">
              <a:lnSpc>
                <a:spcPct val="100000"/>
              </a:lnSpc>
              <a:spcBef>
                <a:spcPts val="196"/>
              </a:spcBef>
              <a:spcAft>
                <a:spcPts val="196"/>
              </a:spcAft>
              <a:buClr>
                <a:srgbClr val="68217A">
                  <a:lumMod val="50000"/>
                </a:srgbClr>
              </a:buClr>
              <a:buSzTx/>
              <a:buFontTx/>
              <a:buNone/>
              <a:tabLst>
                <a:tab pos="645523" algn="l"/>
              </a:tabLst>
              <a:defRPr/>
            </a:pP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Modeled</a:t>
            </a:r>
            <a:r>
              <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 after Google’s </a:t>
            </a:r>
            <a:r>
              <a:rPr kumimoji="0" lang="en-IN" sz="1765"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rPr>
              <a:t>BigTable</a:t>
            </a:r>
            <a:endParaRPr kumimoji="0" lang="en-IN" sz="1765"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9067127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Data model</a:t>
            </a:r>
          </a:p>
        </p:txBody>
      </p:sp>
      <p:graphicFrame>
        <p:nvGraphicFramePr>
          <p:cNvPr id="71" name="Table 70"/>
          <p:cNvGraphicFramePr>
            <a:graphicFrameLocks noGrp="1"/>
          </p:cNvGraphicFramePr>
          <p:nvPr>
            <p:extLst/>
          </p:nvPr>
        </p:nvGraphicFramePr>
        <p:xfrm>
          <a:off x="6068505" y="1779070"/>
          <a:ext cx="5842014" cy="1633356"/>
        </p:xfrm>
        <a:graphic>
          <a:graphicData uri="http://schemas.openxmlformats.org/drawingml/2006/table">
            <a:tbl>
              <a:tblPr firstRow="1" bandRow="1"/>
              <a:tblGrid>
                <a:gridCol w="1187324">
                  <a:extLst>
                    <a:ext uri="{9D8B030D-6E8A-4147-A177-3AD203B41FA5}">
                      <a16:colId xmlns:a16="http://schemas.microsoft.com/office/drawing/2014/main" val="20000"/>
                    </a:ext>
                  </a:extLst>
                </a:gridCol>
                <a:gridCol w="1249668">
                  <a:extLst>
                    <a:ext uri="{9D8B030D-6E8A-4147-A177-3AD203B41FA5}">
                      <a16:colId xmlns:a16="http://schemas.microsoft.com/office/drawing/2014/main" val="20001"/>
                    </a:ext>
                  </a:extLst>
                </a:gridCol>
                <a:gridCol w="1457684">
                  <a:extLst>
                    <a:ext uri="{9D8B030D-6E8A-4147-A177-3AD203B41FA5}">
                      <a16:colId xmlns:a16="http://schemas.microsoft.com/office/drawing/2014/main" val="20002"/>
                    </a:ext>
                  </a:extLst>
                </a:gridCol>
                <a:gridCol w="973669">
                  <a:extLst>
                    <a:ext uri="{9D8B030D-6E8A-4147-A177-3AD203B41FA5}">
                      <a16:colId xmlns:a16="http://schemas.microsoft.com/office/drawing/2014/main" val="20003"/>
                    </a:ext>
                  </a:extLst>
                </a:gridCol>
                <a:gridCol w="973669">
                  <a:extLst>
                    <a:ext uri="{9D8B030D-6E8A-4147-A177-3AD203B41FA5}">
                      <a16:colId xmlns:a16="http://schemas.microsoft.com/office/drawing/2014/main" val="20004"/>
                    </a:ext>
                  </a:extLst>
                </a:gridCol>
              </a:tblGrid>
              <a:tr h="292832">
                <a:tc>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Row Key </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Customer</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tc gridSpan="2">
                  <a:txBody>
                    <a:bodyPr/>
                    <a:lstStyle/>
                    <a:p>
                      <a:pPr algn="ctr"/>
                      <a:r>
                        <a:rPr lang="en-IN" sz="1600" dirty="0">
                          <a:solidFill>
                            <a:schemeClr val="bg1"/>
                          </a:solidFill>
                          <a:latin typeface="Segoe UI Semibold" panose="020B0702040204020203" pitchFamily="34" charset="0"/>
                          <a:cs typeface="Segoe UI Semibold" panose="020B0702040204020203" pitchFamily="34" charset="0"/>
                        </a:rPr>
                        <a:t>Sales</a:t>
                      </a:r>
                    </a:p>
                  </a:txBody>
                  <a:tcPr marL="44821" marR="44821" marT="26893" marB="26893"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hMerge="1">
                  <a:txBody>
                    <a:bodyPr/>
                    <a:lstStyle/>
                    <a:p>
                      <a:endParaRPr lang="en-IN"/>
                    </a:p>
                  </a:txBody>
                  <a:tcPr/>
                </a:tc>
                <a:extLst>
                  <a:ext uri="{0D108BD9-81ED-4DB2-BD59-A6C34878D82A}">
                    <a16:rowId xmlns:a16="http://schemas.microsoft.com/office/drawing/2014/main" val="10000"/>
                  </a:ext>
                </a:extLst>
              </a:tr>
              <a:tr h="262951">
                <a:tc>
                  <a:txBody>
                    <a:bodyPr/>
                    <a:lstStyle/>
                    <a:p>
                      <a:r>
                        <a:rPr lang="en-IN" sz="1400" dirty="0">
                          <a:solidFill>
                            <a:schemeClr val="tx2"/>
                          </a:solidFill>
                        </a:rPr>
                        <a:t>Customer Id</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Nam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ity</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roduct</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Amount</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62951">
                <a:tc>
                  <a:txBody>
                    <a:bodyPr/>
                    <a:lstStyle/>
                    <a:p>
                      <a:r>
                        <a:rPr lang="en-IN" sz="1400" dirty="0">
                          <a:solidFill>
                            <a:schemeClr val="tx2"/>
                          </a:solidFill>
                        </a:rPr>
                        <a:t>101</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John White</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Los Angeles, C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Chair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4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62951">
                <a:tc>
                  <a:txBody>
                    <a:bodyPr/>
                    <a:lstStyle/>
                    <a:p>
                      <a:r>
                        <a:rPr lang="en-IN" sz="1400" dirty="0">
                          <a:solidFill>
                            <a:schemeClr val="tx2"/>
                          </a:solidFill>
                        </a:rPr>
                        <a:t>102</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ne</a:t>
                      </a:r>
                      <a:r>
                        <a:rPr lang="en-IN" sz="1400" baseline="0" dirty="0">
                          <a:solidFill>
                            <a:schemeClr val="tx2"/>
                          </a:solidFill>
                        </a:rPr>
                        <a:t> Brown</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Atlanta, GA</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Lamps</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2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262951">
                <a:tc>
                  <a:txBody>
                    <a:bodyPr/>
                    <a:lstStyle/>
                    <a:p>
                      <a:r>
                        <a:rPr lang="en-IN" sz="1400" dirty="0">
                          <a:solidFill>
                            <a:schemeClr val="tx2"/>
                          </a:solidFill>
                        </a:rPr>
                        <a:t>103</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Bill Green</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Pittsburgh,</a:t>
                      </a:r>
                      <a:r>
                        <a:rPr lang="en-IN" sz="1400" baseline="0" dirty="0">
                          <a:solidFill>
                            <a:schemeClr val="tx2"/>
                          </a:solidFill>
                        </a:rPr>
                        <a:t> PA</a:t>
                      </a:r>
                      <a:endParaRPr lang="en-IN" sz="1400" dirty="0">
                        <a:solidFill>
                          <a:schemeClr val="tx2"/>
                        </a:solidFill>
                      </a:endParaRP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1400" dirty="0">
                          <a:solidFill>
                            <a:schemeClr val="tx2"/>
                          </a:solidFill>
                        </a:rPr>
                        <a:t>Des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5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62951">
                <a:tc>
                  <a:txBody>
                    <a:bodyPr/>
                    <a:lstStyle/>
                    <a:p>
                      <a:r>
                        <a:rPr lang="en-IN" sz="1400" dirty="0">
                          <a:solidFill>
                            <a:schemeClr val="tx2"/>
                          </a:solidFill>
                        </a:rPr>
                        <a:t>104</a:t>
                      </a:r>
                    </a:p>
                  </a:txBody>
                  <a:tcPr marL="44821" marR="44821" marT="26893" marB="26893"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Jack Black</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St. Louis, MO</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r>
                        <a:rPr lang="en-IN" sz="1400" dirty="0">
                          <a:solidFill>
                            <a:schemeClr val="tx2"/>
                          </a:solidFill>
                        </a:rPr>
                        <a:t>Bed</a:t>
                      </a:r>
                    </a:p>
                  </a:txBody>
                  <a:tcPr marL="44821" marR="44821" marT="26893" marB="26893"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400" dirty="0">
                          <a:solidFill>
                            <a:schemeClr val="tx2"/>
                          </a:solidFill>
                        </a:rPr>
                        <a:t>$1600.00</a:t>
                      </a:r>
                    </a:p>
                  </a:txBody>
                  <a:tcPr marL="44821" marR="44821" marT="26893" marB="26893"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bl>
          </a:graphicData>
        </a:graphic>
      </p:graphicFrame>
      <p:sp>
        <p:nvSpPr>
          <p:cNvPr id="72" name="Rectangle 71"/>
          <p:cNvSpPr/>
          <p:nvPr/>
        </p:nvSpPr>
        <p:spPr bwMode="auto">
          <a:xfrm>
            <a:off x="7246570" y="1758293"/>
            <a:ext cx="2657886"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5" name="Rectangle 74"/>
          <p:cNvSpPr/>
          <p:nvPr/>
        </p:nvSpPr>
        <p:spPr bwMode="auto">
          <a:xfrm>
            <a:off x="9963828" y="1758293"/>
            <a:ext cx="1870432" cy="1640566"/>
          </a:xfrm>
          <a:prstGeom prst="rect">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7" name="Elbow Connector 76"/>
          <p:cNvCxnSpPr/>
          <p:nvPr/>
        </p:nvCxnSpPr>
        <p:spPr>
          <a:xfrm rot="16200000" flipH="1">
            <a:off x="9765290" y="2255771"/>
            <a:ext cx="12450" cy="2323531"/>
          </a:xfrm>
          <a:prstGeom prst="bentConnector3">
            <a:avLst>
              <a:gd name="adj1" fmla="val 1824984"/>
            </a:avLst>
          </a:prstGeom>
          <a:noFill/>
          <a:ln w="19050">
            <a:solidFill>
              <a:schemeClr val="accent2"/>
            </a:solidFill>
            <a:headEnd type="triangle" w="lg" len="med"/>
            <a:tailEnd type="triangle" w="lg" len="med"/>
          </a:ln>
          <a:effectLst/>
        </p:spPr>
        <p:style>
          <a:lnRef idx="1">
            <a:schemeClr val="accent2"/>
          </a:lnRef>
          <a:fillRef idx="3">
            <a:schemeClr val="accent2"/>
          </a:fillRef>
          <a:effectRef idx="2">
            <a:schemeClr val="accent2"/>
          </a:effectRef>
          <a:fontRef idx="minor">
            <a:schemeClr val="lt1"/>
          </a:fontRef>
        </p:style>
      </p:cxnSp>
      <p:sp>
        <p:nvSpPr>
          <p:cNvPr id="70" name="TextBox 69"/>
          <p:cNvSpPr txBox="1"/>
          <p:nvPr/>
        </p:nvSpPr>
        <p:spPr>
          <a:xfrm>
            <a:off x="8895949" y="3500384"/>
            <a:ext cx="1751130" cy="248387"/>
          </a:xfrm>
          <a:prstGeom prst="rect">
            <a:avLst/>
          </a:prstGeom>
          <a:solidFill>
            <a:schemeClr val="bg1"/>
          </a:solidFill>
        </p:spPr>
        <p:txBody>
          <a:bodyPr wrap="none" lIns="0" tIns="0" rIns="0" bIns="0" rtlCol="0" anchor="ctr">
            <a:noAutofit/>
          </a:bodyPr>
          <a:lstStyle>
            <a:defPPr>
              <a:defRPr lang="en-US"/>
            </a:defPPr>
            <a:lvl1pPr algn="ctr">
              <a:defRPr sz="2000">
                <a:solidFill>
                  <a:schemeClr val="tx2"/>
                </a:solidFill>
                <a:cs typeface="Segoe UI Semibold" panose="020B07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umn Families</a:t>
            </a:r>
          </a:p>
        </p:txBody>
      </p:sp>
      <p:sp>
        <p:nvSpPr>
          <p:cNvPr id="3" name="Slide Number Placeholder 2"/>
          <p:cNvSpPr>
            <a:spLocks noGrp="1"/>
          </p:cNvSpPr>
          <p:nvPr>
            <p:ph type="sldNum" sz="quarter" idx="11"/>
          </p:nvPr>
        </p:nvSpPr>
        <p:spPr>
          <a:xfrm>
            <a:off x="11226526" y="6818465"/>
            <a:ext cx="555597" cy="133860"/>
          </a:xfrm>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0</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TextBox 3"/>
          <p:cNvSpPr txBox="1"/>
          <p:nvPr/>
        </p:nvSpPr>
        <p:spPr>
          <a:xfrm>
            <a:off x="95283" y="1214321"/>
            <a:ext cx="5799578" cy="4939887"/>
          </a:xfrm>
          <a:prstGeom prst="rect">
            <a:avLst/>
          </a:prstGeom>
          <a:noFill/>
        </p:spPr>
        <p:txBody>
          <a:bodyPr wrap="square" lIns="182880" tIns="146304" rIns="182880" bIns="146304" rtlCol="0">
            <a:noAutofit/>
          </a:bodyPr>
          <a:lstStyle/>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s are logical collections of rows stored in multiple Regio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 row is identified by a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unique in a table.</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 Familie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Data in a row are grouped together as Column Families. Each Column Family has one more Columns. </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olumns</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olumn is identified by a Column Qualifier that consists of the Column Family name concatenated with the Column name using a colon – example: </a:t>
            </a:r>
            <a:r>
              <a:rPr kumimoji="0" lang="en-US" sz="16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columnname</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Rows within a table can have varied number of Columns or </a:t>
            </a: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missing columns </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arse tables)</a:t>
            </a:r>
          </a:p>
          <a:p>
            <a:pPr marL="285750" marR="0" lvl="0" indent="-285750" algn="l" defTabSz="914400" rtl="0" eaLnBrk="1" fontAlgn="auto" latinLnBrk="0" hangingPunct="1">
              <a:lnSpc>
                <a:spcPts val="2300"/>
              </a:lnSpc>
              <a:spcBef>
                <a:spcPts val="0"/>
              </a:spcBef>
              <a:spcAft>
                <a:spcPts val="600"/>
              </a:spcAft>
              <a:buClr>
                <a:srgbClr val="68217A"/>
              </a:buClr>
              <a:buSzTx/>
              <a:buFont typeface="Wingdings" panose="05000000000000000000" pitchFamily="2" charset="2"/>
              <a:buChar char="v"/>
              <a:tabLst/>
              <a:defRPr/>
            </a:pPr>
            <a:r>
              <a:rPr kumimoji="0" lang="en-US" sz="1600" b="0" i="1" u="none" strike="noStrike" kern="1200" cap="none" spc="0" normalizeH="0" baseline="0" noProof="0" dirty="0">
                <a:ln>
                  <a:noFill/>
                </a:ln>
                <a:solidFill>
                  <a:srgbClr val="000000">
                    <a:lumMod val="65000"/>
                    <a:lumOff val="35000"/>
                  </a:srgbClr>
                </a:solidFill>
                <a:effectLst/>
                <a:uLnTx/>
                <a:uFillTx/>
                <a:latin typeface="Segoe UI"/>
                <a:ea typeface="+mn-ea"/>
                <a:cs typeface="+mn-cs"/>
              </a:rPr>
              <a:t>Cell</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 A Cell stores data and is essentially a unique combination of </a:t>
            </a:r>
            <a:r>
              <a:rPr kumimoji="0" lang="en-US" sz="1600" b="0"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rowkey</a:t>
            </a: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Column Family and the Column.</a:t>
            </a:r>
          </a:p>
        </p:txBody>
      </p:sp>
      <p:sp>
        <p:nvSpPr>
          <p:cNvPr id="41" name="TextBox 40"/>
          <p:cNvSpPr txBox="1"/>
          <p:nvPr/>
        </p:nvSpPr>
        <p:spPr>
          <a:xfrm>
            <a:off x="5974669" y="4321660"/>
            <a:ext cx="6116045" cy="1420772"/>
          </a:xfrm>
          <a:prstGeom prst="rect">
            <a:avLst/>
          </a:prstGeom>
          <a:noFill/>
          <a:ln>
            <a:solidFill>
              <a:schemeClr val="accent4"/>
            </a:solidFill>
          </a:ln>
        </p:spPr>
        <p:txBody>
          <a:bodyPr wrap="square" lIns="182880" tIns="146304" rIns="182880" bIns="146304" rtlCol="0">
            <a:noAutofit/>
          </a:bodyPr>
          <a:lstStyle/>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Customer Column Family is made up 2 columns – Name and City</a:t>
            </a:r>
          </a:p>
          <a:p>
            <a:pPr marL="285750" marR="0" lvl="0" indent="-285750" algn="l" defTabSz="914400" rtl="0" eaLnBrk="1" fontAlgn="auto" latinLnBrk="0" hangingPunct="1">
              <a:lnSpc>
                <a:spcPts val="2100"/>
              </a:lnSpc>
              <a:spcBef>
                <a:spcPts val="0"/>
              </a:spcBef>
              <a:spcAft>
                <a:spcPts val="600"/>
              </a:spcAft>
              <a:buClr>
                <a:srgbClr val="68217A"/>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ales Column Families is made up to 2 columns – Product and Amount.</a:t>
            </a:r>
          </a:p>
        </p:txBody>
      </p:sp>
      <p:sp>
        <p:nvSpPr>
          <p:cNvPr id="5" name="Rectangle 4"/>
          <p:cNvSpPr/>
          <p:nvPr/>
        </p:nvSpPr>
        <p:spPr bwMode="auto">
          <a:xfrm>
            <a:off x="5954233" y="1504667"/>
            <a:ext cx="6156916" cy="2283519"/>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7" name="Straight Arrow Connector 6"/>
          <p:cNvCxnSpPr>
            <a:stCxn id="41" idx="0"/>
            <a:endCxn id="5" idx="2"/>
          </p:cNvCxnSpPr>
          <p:nvPr/>
        </p:nvCxnSpPr>
        <p:spPr>
          <a:xfrm flipH="1" flipV="1">
            <a:off x="9032691" y="3788186"/>
            <a:ext cx="1" cy="53347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13" name="Rectangle 12"/>
          <p:cNvSpPr/>
          <p:nvPr/>
        </p:nvSpPr>
        <p:spPr>
          <a:xfrm>
            <a:off x="6480325" y="1157819"/>
            <a:ext cx="5104731" cy="361637"/>
          </a:xfrm>
          <a:prstGeom prst="rect">
            <a:avLst/>
          </a:prstGeom>
        </p:spPr>
        <p:txBody>
          <a:bodyPr wrap="none">
            <a:spAutoFit/>
          </a:bodyPr>
          <a:lstStyle/>
          <a:p>
            <a:pPr marL="0" marR="0" lvl="0" indent="0" algn="l" defTabSz="914400" rtl="0" eaLnBrk="1" fontAlgn="auto" latinLnBrk="0" hangingPunct="1">
              <a:lnSpc>
                <a:spcPts val="2100"/>
              </a:lnSpc>
              <a:spcBef>
                <a:spcPts val="0"/>
              </a:spcBef>
              <a:spcAft>
                <a:spcPts val="600"/>
              </a:spcAft>
              <a:buClr>
                <a:srgbClr val="68217A"/>
              </a:buClr>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able with Customer and Sales Column Families. </a:t>
            </a:r>
          </a:p>
        </p:txBody>
      </p:sp>
    </p:spTree>
    <p:extLst>
      <p:ext uri="{BB962C8B-B14F-4D97-AF65-F5344CB8AC3E}">
        <p14:creationId xmlns:p14="http://schemas.microsoft.com/office/powerpoint/2010/main" val="2266425339"/>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Base: Key Components</a:t>
            </a:r>
          </a:p>
        </p:txBody>
      </p:sp>
      <p:sp>
        <p:nvSpPr>
          <p:cNvPr id="130" name="Slide Number Placeholder 129"/>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IN"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1</a:t>
            </a:fld>
            <a:endParaRPr kumimoji="0" lang="en-IN"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Rectangle 11"/>
          <p:cNvSpPr/>
          <p:nvPr/>
        </p:nvSpPr>
        <p:spPr>
          <a:xfrm>
            <a:off x="316186" y="1361378"/>
            <a:ext cx="2742509" cy="4066241"/>
          </a:xfrm>
          <a:prstGeom prst="rect">
            <a:avLst/>
          </a:prstGeom>
        </p:spPr>
        <p:txBody>
          <a:bodyPr wrap="square">
            <a:spAutoFit/>
          </a:bodyPr>
          <a:lstStyle/>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Clients</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Mast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rPr>
              <a:t>Zookeeper</a:t>
            </a: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Server</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Region</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HLog</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MemStor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a:p>
            <a:pPr marL="395812" marR="0" lvl="1" indent="-342900" algn="l" defTabSz="913770" rtl="0" eaLnBrk="1" fontAlgn="base" latinLnBrk="0" hangingPunct="1">
              <a:lnSpc>
                <a:spcPct val="100000"/>
              </a:lnSpc>
              <a:spcBef>
                <a:spcPts val="600"/>
              </a:spcBef>
              <a:spcAft>
                <a:spcPts val="600"/>
              </a:spcAft>
              <a:buClr>
                <a:srgbClr val="68217A">
                  <a:lumMod val="50000"/>
                </a:srgbClr>
              </a:buClr>
              <a:buSzTx/>
              <a:buFont typeface="Arial" panose="020B0604020202020204" pitchFamily="34" charset="0"/>
              <a:buChar char="•"/>
              <a:tabLst>
                <a:tab pos="645523" algn="l"/>
              </a:tabLst>
              <a:defRPr/>
            </a:pPr>
            <a:r>
              <a:rPr kumimoji="0" lang="en-IN" sz="2353" b="0" i="0" u="none" strike="noStrike" kern="1200" cap="none" spc="0" normalizeH="0" baseline="0" noProof="0" dirty="0" err="1">
                <a:ln>
                  <a:noFill/>
                </a:ln>
                <a:solidFill>
                  <a:srgbClr val="000000">
                    <a:lumMod val="65000"/>
                    <a:lumOff val="35000"/>
                  </a:srgbClr>
                </a:solidFill>
                <a:effectLst/>
                <a:uLnTx/>
                <a:uFillTx/>
                <a:latin typeface="Segoe UI"/>
                <a:ea typeface="Segoe UI" pitchFamily="34" charset="0"/>
                <a:cs typeface="Segoe UI" pitchFamily="34" charset="0"/>
              </a:rPr>
              <a:t>StoreFile</a:t>
            </a:r>
            <a:endParaRPr kumimoji="0" lang="en-IN" sz="2353" b="0"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2" name="TextBox 1"/>
          <p:cNvSpPr txBox="1"/>
          <p:nvPr/>
        </p:nvSpPr>
        <p:spPr>
          <a:xfrm>
            <a:off x="6626501" y="6017484"/>
            <a:ext cx="2998382" cy="420258"/>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nd </a:t>
            </a:r>
            <a:r>
              <a:rPr kumimoji="0" lang="en-US" sz="1400" b="0" i="0" u="none" strike="noStrike" kern="1200" cap="none" spc="0" normalizeH="0" baseline="0" noProof="0" dirty="0" err="1">
                <a:ln>
                  <a:noFill/>
                </a:ln>
                <a:solidFill>
                  <a:srgbClr val="D2D2D2">
                    <a:lumMod val="25000"/>
                  </a:srgbClr>
                </a:solidFill>
                <a:effectLst/>
                <a:uLnTx/>
                <a:uFillTx/>
                <a:latin typeface="Segoe UI"/>
                <a:ea typeface="+mn-ea"/>
                <a:cs typeface="+mn-cs"/>
              </a:rPr>
              <a:t>HLogs</a:t>
            </a:r>
            <a:r>
              <a:rPr kumimoji="0" lang="en-US" sz="1400" b="0" i="0" u="none" strike="noStrike" kern="1200" cap="none" spc="0" normalizeH="0" baseline="0" noProof="0" dirty="0">
                <a:ln>
                  <a:noFill/>
                </a:ln>
                <a:solidFill>
                  <a:srgbClr val="D2D2D2">
                    <a:lumMod val="25000"/>
                  </a:srgbClr>
                </a:solidFill>
                <a:effectLst/>
                <a:uLnTx/>
                <a:uFillTx/>
                <a:latin typeface="Segoe UI"/>
                <a:ea typeface="+mn-ea"/>
                <a:cs typeface="+mn-cs"/>
              </a:rPr>
              <a:t> are stored in HDFS</a:t>
            </a:r>
          </a:p>
        </p:txBody>
      </p:sp>
      <p:grpSp>
        <p:nvGrpSpPr>
          <p:cNvPr id="9" name="Group 8"/>
          <p:cNvGrpSpPr/>
          <p:nvPr/>
        </p:nvGrpSpPr>
        <p:grpSpPr>
          <a:xfrm>
            <a:off x="3613980" y="1269344"/>
            <a:ext cx="8308470" cy="4787755"/>
            <a:chOff x="4057607" y="1201239"/>
            <a:chExt cx="8308470" cy="4787755"/>
          </a:xfrm>
        </p:grpSpPr>
        <p:sp>
          <p:nvSpPr>
            <p:cNvPr id="10" name="Rectangle 9"/>
            <p:cNvSpPr/>
            <p:nvPr/>
          </p:nvSpPr>
          <p:spPr bwMode="auto">
            <a:xfrm>
              <a:off x="4057607" y="1201239"/>
              <a:ext cx="8308470" cy="4787755"/>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ounded Rectangle 10"/>
            <p:cNvSpPr/>
            <p:nvPr/>
          </p:nvSpPr>
          <p:spPr bwMode="auto">
            <a:xfrm>
              <a:off x="4135435" y="2816533"/>
              <a:ext cx="877078" cy="1418253"/>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 name="Rounded Rectangle 12"/>
            <p:cNvSpPr/>
            <p:nvPr/>
          </p:nvSpPr>
          <p:spPr bwMode="auto">
            <a:xfrm>
              <a:off x="5766516" y="1369271"/>
              <a:ext cx="867747" cy="44595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 name="Rounded Rectangle 13"/>
            <p:cNvSpPr/>
            <p:nvPr/>
          </p:nvSpPr>
          <p:spPr bwMode="auto">
            <a:xfrm>
              <a:off x="7503869" y="1436893"/>
              <a:ext cx="905325" cy="877077"/>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5" name="Rounded Rectangle 14"/>
            <p:cNvSpPr/>
            <p:nvPr/>
          </p:nvSpPr>
          <p:spPr bwMode="auto">
            <a:xfrm>
              <a:off x="7503869" y="2538966"/>
              <a:ext cx="905325" cy="862930"/>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ounded Rectangle 15"/>
            <p:cNvSpPr/>
            <p:nvPr/>
          </p:nvSpPr>
          <p:spPr bwMode="auto">
            <a:xfrm>
              <a:off x="7503869" y="3722230"/>
              <a:ext cx="905325" cy="843278"/>
            </a:xfrm>
            <a:prstGeom prst="roundRect">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7" name="Rounded Rectangle 16"/>
            <p:cNvSpPr/>
            <p:nvPr/>
          </p:nvSpPr>
          <p:spPr bwMode="auto">
            <a:xfrm>
              <a:off x="7503869" y="4784660"/>
              <a:ext cx="3688006" cy="965187"/>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8" name="Rounded Rectangle 17"/>
            <p:cNvSpPr/>
            <p:nvPr/>
          </p:nvSpPr>
          <p:spPr bwMode="auto">
            <a:xfrm>
              <a:off x="9469474" y="2542781"/>
              <a:ext cx="2592068" cy="855300"/>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9" name="Rounded Rectangle 18"/>
            <p:cNvSpPr/>
            <p:nvPr/>
          </p:nvSpPr>
          <p:spPr bwMode="auto">
            <a:xfrm>
              <a:off x="5858550" y="4579903"/>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 name="Rounded Rectangle 19"/>
            <p:cNvSpPr/>
            <p:nvPr/>
          </p:nvSpPr>
          <p:spPr bwMode="auto">
            <a:xfrm>
              <a:off x="5868110" y="5156412"/>
              <a:ext cx="664557" cy="457200"/>
            </a:xfrm>
            <a:prstGeom prst="round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1" name="TextBox 20"/>
            <p:cNvSpPr txBox="1"/>
            <p:nvPr/>
          </p:nvSpPr>
          <p:spPr>
            <a:xfrm>
              <a:off x="5926569" y="4574255"/>
              <a:ext cx="404647" cy="487000"/>
            </a:xfrm>
            <a:prstGeom prst="rect">
              <a:avLst/>
            </a:prstGeom>
            <a:noFill/>
          </p:spPr>
          <p:txBody>
            <a:bodyPr wrap="none" lIns="91440" tIns="0" rIns="0" bIns="0" rtlCol="0" anchor="ctr">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Flusher</a:t>
              </a:r>
            </a:p>
          </p:txBody>
        </p:sp>
        <p:sp>
          <p:nvSpPr>
            <p:cNvPr id="22" name="TextBox 21"/>
            <p:cNvSpPr txBox="1"/>
            <p:nvPr/>
          </p:nvSpPr>
          <p:spPr>
            <a:xfrm>
              <a:off x="5897621" y="5141512"/>
              <a:ext cx="605534" cy="48700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Log</a:t>
              </a:r>
            </a:p>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Roller</a:t>
              </a:r>
            </a:p>
          </p:txBody>
        </p:sp>
        <p:sp>
          <p:nvSpPr>
            <p:cNvPr id="23" name="TextBox 22"/>
            <p:cNvSpPr txBox="1"/>
            <p:nvPr/>
          </p:nvSpPr>
          <p:spPr>
            <a:xfrm>
              <a:off x="4057607" y="2816533"/>
              <a:ext cx="914400" cy="875523"/>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Client </a:t>
              </a: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0" marR="0" lvl="0" indent="0" algn="l" defTabSz="914400" rtl="0" eaLnBrk="1" fontAlgn="auto" latinLnBrk="0" hangingPunct="1">
                <a:lnSpc>
                  <a:spcPct val="5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a:p>
              <a:pPr marL="18288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put()</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delete()</a:t>
              </a:r>
            </a:p>
            <a:p>
              <a:pPr marL="91440" marR="0" lvl="0" indent="-182880" algn="l" defTabSz="914400" rtl="0" eaLnBrk="1" fontAlgn="auto" latinLnBrk="0" hangingPunct="1">
                <a:lnSpc>
                  <a:spcPct val="50000"/>
                </a:lnSpc>
                <a:spcBef>
                  <a:spcPts val="0"/>
                </a:spcBef>
                <a:spcAft>
                  <a:spcPts val="600"/>
                </a:spcAft>
                <a:buClrTx/>
                <a:buSzTx/>
                <a:buFontTx/>
                <a:buChar char="-"/>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incr</a:t>
              </a: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t>
              </a:r>
            </a:p>
          </p:txBody>
        </p:sp>
        <p:pic>
          <p:nvPicPr>
            <p:cNvPr id="2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184" t="43995" r="89884" b="54061"/>
            <a:stretch/>
          </p:blipFill>
          <p:spPr bwMode="auto">
            <a:xfrm>
              <a:off x="4241647" y="3326841"/>
              <a:ext cx="622590" cy="117470"/>
            </a:xfrm>
            <a:prstGeom prst="rect">
              <a:avLst/>
            </a:prstGeom>
            <a:solidFill>
              <a:schemeClr val="accent2">
                <a:lumMod val="75000"/>
              </a:schemeClr>
            </a:solidFill>
            <a:ln>
              <a:solidFill>
                <a:schemeClr val="tx2"/>
              </a:solidFill>
            </a:ln>
          </p:spPr>
        </p:pic>
        <p:sp>
          <p:nvSpPr>
            <p:cNvPr id="25" name="TextBox 24"/>
            <p:cNvSpPr txBox="1"/>
            <p:nvPr/>
          </p:nvSpPr>
          <p:spPr>
            <a:xfrm rot="16200000">
              <a:off x="5921673" y="3372717"/>
              <a:ext cx="914400" cy="914400"/>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FFFFFF"/>
                  </a:solidFill>
                  <a:effectLst/>
                  <a:uLnTx/>
                  <a:uFillTx/>
                  <a:latin typeface="Segoe UI"/>
                  <a:ea typeface="+mn-ea"/>
                  <a:cs typeface="+mn-cs"/>
                </a:rPr>
                <a:t> </a:t>
              </a:r>
            </a:p>
          </p:txBody>
        </p:sp>
        <p:cxnSp>
          <p:nvCxnSpPr>
            <p:cNvPr id="26" name="Straight Connector 25"/>
            <p:cNvCxnSpPr/>
            <p:nvPr/>
          </p:nvCxnSpPr>
          <p:spPr>
            <a:xfrm>
              <a:off x="5354612" y="1280322"/>
              <a:ext cx="49236" cy="4708672"/>
            </a:xfrm>
            <a:prstGeom prst="line">
              <a:avLst/>
            </a:prstGeom>
            <a:ln w="19050">
              <a:solidFill>
                <a:srgbClr val="82CAFF"/>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049522" y="3223982"/>
              <a:ext cx="684321" cy="549066"/>
              <a:chOff x="5049522" y="3223982"/>
              <a:chExt cx="684321" cy="549066"/>
            </a:xfrm>
          </p:grpSpPr>
          <p:sp>
            <p:nvSpPr>
              <p:cNvPr id="132" name="Right Arrow 131"/>
              <p:cNvSpPr/>
              <p:nvPr/>
            </p:nvSpPr>
            <p:spPr bwMode="auto">
              <a:xfrm>
                <a:off x="5049522" y="3223982"/>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3" name="Rectangle 132"/>
              <p:cNvSpPr/>
              <p:nvPr/>
            </p:nvSpPr>
            <p:spPr bwMode="auto">
              <a:xfrm>
                <a:off x="5486351" y="3442782"/>
                <a:ext cx="98472" cy="113835"/>
              </a:xfrm>
              <a:prstGeom prst="rect">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4" name="Rectangle 133"/>
              <p:cNvSpPr/>
              <p:nvPr/>
            </p:nvSpPr>
            <p:spPr bwMode="auto">
              <a:xfrm>
                <a:off x="5114876" y="3442782"/>
                <a:ext cx="98472" cy="113835"/>
              </a:xfrm>
              <a:prstGeom prst="rect">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5" name="Rectangle 134"/>
              <p:cNvSpPr/>
              <p:nvPr/>
            </p:nvSpPr>
            <p:spPr bwMode="auto">
              <a:xfrm>
                <a:off x="5305376" y="3442782"/>
                <a:ext cx="98472" cy="113835"/>
              </a:xfrm>
              <a:prstGeom prst="rect">
                <a:avLst/>
              </a:prstGeom>
              <a:solidFill>
                <a:srgbClr val="4D828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8" name="Group 27"/>
            <p:cNvGrpSpPr/>
            <p:nvPr/>
          </p:nvGrpSpPr>
          <p:grpSpPr>
            <a:xfrm>
              <a:off x="6720277" y="1600898"/>
              <a:ext cx="734651" cy="2817504"/>
              <a:chOff x="6720277" y="1600898"/>
              <a:chExt cx="734651" cy="2817504"/>
            </a:xfrm>
          </p:grpSpPr>
          <p:grpSp>
            <p:nvGrpSpPr>
              <p:cNvPr id="116" name="Group 115"/>
              <p:cNvGrpSpPr/>
              <p:nvPr/>
            </p:nvGrpSpPr>
            <p:grpSpPr>
              <a:xfrm>
                <a:off x="6720277" y="1600898"/>
                <a:ext cx="734651" cy="549066"/>
                <a:chOff x="4999192" y="3171818"/>
                <a:chExt cx="734651" cy="549066"/>
              </a:xfrm>
            </p:grpSpPr>
            <p:sp>
              <p:nvSpPr>
                <p:cNvPr id="127" name="Right Arrow 126"/>
                <p:cNvSpPr/>
                <p:nvPr/>
              </p:nvSpPr>
              <p:spPr bwMode="auto">
                <a:xfrm>
                  <a:off x="4999192" y="3171818"/>
                  <a:ext cx="73465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8" name="Rectangle 127"/>
                <p:cNvSpPr/>
                <p:nvPr/>
              </p:nvSpPr>
              <p:spPr bwMode="auto">
                <a:xfrm>
                  <a:off x="5486351" y="3389434"/>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9" name="Rectangle 128"/>
                <p:cNvSpPr/>
                <p:nvPr/>
              </p:nvSpPr>
              <p:spPr bwMode="auto">
                <a:xfrm>
                  <a:off x="51148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1" name="Rectangle 130"/>
                <p:cNvSpPr/>
                <p:nvPr/>
              </p:nvSpPr>
              <p:spPr bwMode="auto">
                <a:xfrm>
                  <a:off x="5305376" y="3389434"/>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7" name="Group 116"/>
              <p:cNvGrpSpPr/>
              <p:nvPr/>
            </p:nvGrpSpPr>
            <p:grpSpPr>
              <a:xfrm>
                <a:off x="6733536" y="2695898"/>
                <a:ext cx="684321" cy="549066"/>
                <a:chOff x="5049522" y="3184460"/>
                <a:chExt cx="684321" cy="549066"/>
              </a:xfrm>
            </p:grpSpPr>
            <p:sp>
              <p:nvSpPr>
                <p:cNvPr id="123" name="Right Arrow 122"/>
                <p:cNvSpPr/>
                <p:nvPr/>
              </p:nvSpPr>
              <p:spPr bwMode="auto">
                <a:xfrm>
                  <a:off x="5049522" y="3184460"/>
                  <a:ext cx="684321"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4" name="Rectangle 123"/>
                <p:cNvSpPr/>
                <p:nvPr/>
              </p:nvSpPr>
              <p:spPr bwMode="auto">
                <a:xfrm>
                  <a:off x="5486351"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5" name="Rectangle 124"/>
                <p:cNvSpPr/>
                <p:nvPr/>
              </p:nvSpPr>
              <p:spPr bwMode="auto">
                <a:xfrm>
                  <a:off x="51148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6" name="Rectangle 125"/>
                <p:cNvSpPr/>
                <p:nvPr/>
              </p:nvSpPr>
              <p:spPr bwMode="auto">
                <a:xfrm>
                  <a:off x="5305376" y="3402076"/>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18" name="Group 117"/>
              <p:cNvGrpSpPr/>
              <p:nvPr/>
            </p:nvGrpSpPr>
            <p:grpSpPr>
              <a:xfrm>
                <a:off x="6730099" y="3869336"/>
                <a:ext cx="705256" cy="549066"/>
                <a:chOff x="5028588" y="3196792"/>
                <a:chExt cx="705256" cy="549066"/>
              </a:xfrm>
            </p:grpSpPr>
            <p:sp>
              <p:nvSpPr>
                <p:cNvPr id="119" name="Right Arrow 118"/>
                <p:cNvSpPr/>
                <p:nvPr/>
              </p:nvSpPr>
              <p:spPr bwMode="auto">
                <a:xfrm>
                  <a:off x="5028588" y="3196792"/>
                  <a:ext cx="705256"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Rectangle 119"/>
                <p:cNvSpPr/>
                <p:nvPr/>
              </p:nvSpPr>
              <p:spPr bwMode="auto">
                <a:xfrm>
                  <a:off x="5486351"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1" name="Rectangle 120"/>
                <p:cNvSpPr/>
                <p:nvPr/>
              </p:nvSpPr>
              <p:spPr bwMode="auto">
                <a:xfrm>
                  <a:off x="51148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2" name="Rectangle 121"/>
                <p:cNvSpPr/>
                <p:nvPr/>
              </p:nvSpPr>
              <p:spPr bwMode="auto">
                <a:xfrm>
                  <a:off x="5305376" y="3414408"/>
                  <a:ext cx="98472" cy="113835"/>
                </a:xfrm>
                <a:prstGeom prst="rect">
                  <a:avLst/>
                </a:prstGeom>
                <a:solidFill>
                  <a:srgbClr val="B9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sp>
          <p:nvSpPr>
            <p:cNvPr id="29" name="Down Arrow 28"/>
            <p:cNvSpPr/>
            <p:nvPr/>
          </p:nvSpPr>
          <p:spPr bwMode="auto">
            <a:xfrm>
              <a:off x="8635783" y="1987372"/>
              <a:ext cx="390198" cy="2833750"/>
            </a:xfrm>
            <a:prstGeom prst="downArrow">
              <a:avLst/>
            </a:prstGeom>
            <a:solidFill>
              <a:srgbClr val="FFBA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 name="Group 29"/>
            <p:cNvGrpSpPr/>
            <p:nvPr/>
          </p:nvGrpSpPr>
          <p:grpSpPr>
            <a:xfrm>
              <a:off x="8495206" y="1600898"/>
              <a:ext cx="880582" cy="2817504"/>
              <a:chOff x="6630247" y="1594880"/>
              <a:chExt cx="880582" cy="2817504"/>
            </a:xfrm>
          </p:grpSpPr>
          <p:grpSp>
            <p:nvGrpSpPr>
              <p:cNvPr id="101" name="Group 100"/>
              <p:cNvGrpSpPr/>
              <p:nvPr/>
            </p:nvGrpSpPr>
            <p:grpSpPr>
              <a:xfrm>
                <a:off x="6630249" y="1594880"/>
                <a:ext cx="880580" cy="549066"/>
                <a:chOff x="4909164" y="3165800"/>
                <a:chExt cx="880580" cy="549066"/>
              </a:xfrm>
            </p:grpSpPr>
            <p:sp>
              <p:nvSpPr>
                <p:cNvPr id="112" name="Right Arrow 111"/>
                <p:cNvSpPr/>
                <p:nvPr/>
              </p:nvSpPr>
              <p:spPr bwMode="auto">
                <a:xfrm>
                  <a:off x="4909164" y="3165800"/>
                  <a:ext cx="880580"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3" name="Rectangle 112"/>
                <p:cNvSpPr/>
                <p:nvPr/>
              </p:nvSpPr>
              <p:spPr bwMode="auto">
                <a:xfrm>
                  <a:off x="5375182" y="3383416"/>
                  <a:ext cx="98472" cy="11383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4" name="Rectangle 113"/>
                <p:cNvSpPr/>
                <p:nvPr/>
              </p:nvSpPr>
              <p:spPr bwMode="auto">
                <a:xfrm>
                  <a:off x="50037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5" name="Rectangle 114"/>
                <p:cNvSpPr/>
                <p:nvPr/>
              </p:nvSpPr>
              <p:spPr bwMode="auto">
                <a:xfrm>
                  <a:off x="5194207" y="3383416"/>
                  <a:ext cx="98472" cy="11383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2" name="Group 101"/>
              <p:cNvGrpSpPr/>
              <p:nvPr/>
            </p:nvGrpSpPr>
            <p:grpSpPr>
              <a:xfrm>
                <a:off x="6630247" y="2689880"/>
                <a:ext cx="840997" cy="549066"/>
                <a:chOff x="4946233" y="3178442"/>
                <a:chExt cx="840997" cy="549066"/>
              </a:xfrm>
            </p:grpSpPr>
            <p:sp>
              <p:nvSpPr>
                <p:cNvPr id="108" name="Right Arrow 107"/>
                <p:cNvSpPr/>
                <p:nvPr/>
              </p:nvSpPr>
              <p:spPr bwMode="auto">
                <a:xfrm>
                  <a:off x="4946233" y="3178442"/>
                  <a:ext cx="840997"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9" name="Rectangle 108"/>
                <p:cNvSpPr/>
                <p:nvPr/>
              </p:nvSpPr>
              <p:spPr bwMode="auto">
                <a:xfrm>
                  <a:off x="5419955"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0" name="Rectangle 109"/>
                <p:cNvSpPr/>
                <p:nvPr/>
              </p:nvSpPr>
              <p:spPr bwMode="auto">
                <a:xfrm>
                  <a:off x="50484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1" name="Rectangle 110"/>
                <p:cNvSpPr/>
                <p:nvPr/>
              </p:nvSpPr>
              <p:spPr bwMode="auto">
                <a:xfrm>
                  <a:off x="5238980" y="3396058"/>
                  <a:ext cx="98472" cy="113835"/>
                </a:xfrm>
                <a:prstGeom prst="rect">
                  <a:avLst/>
                </a:prstGeom>
                <a:solidFill>
                  <a:srgbClr val="008D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03" name="Group 102"/>
              <p:cNvGrpSpPr/>
              <p:nvPr/>
            </p:nvGrpSpPr>
            <p:grpSpPr>
              <a:xfrm>
                <a:off x="6630248" y="3863318"/>
                <a:ext cx="859679" cy="549066"/>
                <a:chOff x="4928737" y="3190774"/>
                <a:chExt cx="859679" cy="549066"/>
              </a:xfrm>
            </p:grpSpPr>
            <p:sp>
              <p:nvSpPr>
                <p:cNvPr id="104" name="Right Arrow 103"/>
                <p:cNvSpPr/>
                <p:nvPr/>
              </p:nvSpPr>
              <p:spPr bwMode="auto">
                <a:xfrm>
                  <a:off x="4928737" y="3190774"/>
                  <a:ext cx="859679" cy="549066"/>
                </a:xfrm>
                <a:prstGeom prst="rightArrow">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5" name="Rectangle 104"/>
                <p:cNvSpPr/>
                <p:nvPr/>
              </p:nvSpPr>
              <p:spPr bwMode="auto">
                <a:xfrm>
                  <a:off x="5396805"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6" name="Rectangle 105"/>
                <p:cNvSpPr/>
                <p:nvPr/>
              </p:nvSpPr>
              <p:spPr bwMode="auto">
                <a:xfrm>
                  <a:off x="50253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7" name="Rectangle 106"/>
                <p:cNvSpPr/>
                <p:nvPr/>
              </p:nvSpPr>
              <p:spPr bwMode="auto">
                <a:xfrm>
                  <a:off x="5215830" y="3408390"/>
                  <a:ext cx="98472" cy="113835"/>
                </a:xfrm>
                <a:prstGeom prst="rect">
                  <a:avLst/>
                </a:prstGeom>
                <a:solidFill>
                  <a:srgbClr val="B957D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1" name="Group 30"/>
            <p:cNvGrpSpPr/>
            <p:nvPr/>
          </p:nvGrpSpPr>
          <p:grpSpPr>
            <a:xfrm rot="16200000">
              <a:off x="8595691" y="2391801"/>
              <a:ext cx="469947" cy="113835"/>
              <a:chOff x="8853320" y="2030280"/>
              <a:chExt cx="469947" cy="113835"/>
            </a:xfrm>
          </p:grpSpPr>
          <p:sp>
            <p:nvSpPr>
              <p:cNvPr id="98" name="Rectangle 97"/>
              <p:cNvSpPr/>
              <p:nvPr/>
            </p:nvSpPr>
            <p:spPr bwMode="auto">
              <a:xfrm>
                <a:off x="9224795" y="2030280"/>
                <a:ext cx="98472" cy="113835"/>
              </a:xfrm>
              <a:prstGeom prst="rect">
                <a:avLst/>
              </a:prstGeom>
              <a:solidFill>
                <a:schemeClr val="accent4"/>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9" name="Rectangle 98"/>
              <p:cNvSpPr/>
              <p:nvPr/>
            </p:nvSpPr>
            <p:spPr bwMode="auto">
              <a:xfrm>
                <a:off x="88533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00" name="Rectangle 99"/>
              <p:cNvSpPr/>
              <p:nvPr/>
            </p:nvSpPr>
            <p:spPr bwMode="auto">
              <a:xfrm>
                <a:off x="9043820" y="2030280"/>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2" name="Group 31"/>
            <p:cNvGrpSpPr/>
            <p:nvPr/>
          </p:nvGrpSpPr>
          <p:grpSpPr>
            <a:xfrm rot="16200000">
              <a:off x="8597248" y="3502111"/>
              <a:ext cx="469947" cy="113835"/>
              <a:chOff x="8816249" y="3112638"/>
              <a:chExt cx="469947" cy="113835"/>
            </a:xfrm>
          </p:grpSpPr>
          <p:sp>
            <p:nvSpPr>
              <p:cNvPr id="95" name="Rectangle 94"/>
              <p:cNvSpPr/>
              <p:nvPr/>
            </p:nvSpPr>
            <p:spPr bwMode="auto">
              <a:xfrm>
                <a:off x="9187724"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6" name="Rectangle 95"/>
              <p:cNvSpPr/>
              <p:nvPr/>
            </p:nvSpPr>
            <p:spPr bwMode="auto">
              <a:xfrm>
                <a:off x="8816249" y="3112638"/>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7" name="Rectangle 96"/>
              <p:cNvSpPr/>
              <p:nvPr/>
            </p:nvSpPr>
            <p:spPr bwMode="auto">
              <a:xfrm>
                <a:off x="9006749" y="3112638"/>
                <a:ext cx="98472" cy="113835"/>
              </a:xfrm>
              <a:prstGeom prst="rect">
                <a:avLst/>
              </a:prstGeom>
              <a:solidFill>
                <a:srgbClr val="DC3C00"/>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 name="Group 32"/>
            <p:cNvGrpSpPr/>
            <p:nvPr/>
          </p:nvGrpSpPr>
          <p:grpSpPr>
            <a:xfrm rot="16200000">
              <a:off x="8690941" y="4445442"/>
              <a:ext cx="279447" cy="113835"/>
              <a:chOff x="9024246" y="4273744"/>
              <a:chExt cx="279447" cy="113835"/>
            </a:xfrm>
          </p:grpSpPr>
          <p:sp>
            <p:nvSpPr>
              <p:cNvPr id="93" name="Rectangle 92"/>
              <p:cNvSpPr/>
              <p:nvPr/>
            </p:nvSpPr>
            <p:spPr bwMode="auto">
              <a:xfrm>
                <a:off x="9205221" y="4273744"/>
                <a:ext cx="98472" cy="113835"/>
              </a:xfrm>
              <a:prstGeom prst="rect">
                <a:avLst/>
              </a:prstGeom>
              <a:solidFill>
                <a:srgbClr val="008DB5"/>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Rectangle 93"/>
              <p:cNvSpPr/>
              <p:nvPr/>
            </p:nvSpPr>
            <p:spPr bwMode="auto">
              <a:xfrm>
                <a:off x="9024246" y="4273744"/>
                <a:ext cx="98472" cy="113835"/>
              </a:xfrm>
              <a:prstGeom prst="rect">
                <a:avLst/>
              </a:prstGeom>
              <a:solidFill>
                <a:srgbClr val="B957D2"/>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4" name="Group 33"/>
            <p:cNvGrpSpPr/>
            <p:nvPr/>
          </p:nvGrpSpPr>
          <p:grpSpPr>
            <a:xfrm>
              <a:off x="9469474" y="1411557"/>
              <a:ext cx="2592068" cy="905875"/>
              <a:chOff x="9469474" y="1411557"/>
              <a:chExt cx="2592068" cy="905875"/>
            </a:xfrm>
          </p:grpSpPr>
          <p:sp>
            <p:nvSpPr>
              <p:cNvPr id="79" name="Rounded Rectangle 78"/>
              <p:cNvSpPr/>
              <p:nvPr/>
            </p:nvSpPr>
            <p:spPr bwMode="auto">
              <a:xfrm>
                <a:off x="9469474" y="1433431"/>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80" name="Group 79"/>
              <p:cNvGrpSpPr/>
              <p:nvPr/>
            </p:nvGrpSpPr>
            <p:grpSpPr>
              <a:xfrm>
                <a:off x="9546259" y="1411557"/>
                <a:ext cx="995546" cy="312955"/>
                <a:chOff x="9546259" y="1411557"/>
                <a:chExt cx="995546" cy="312955"/>
              </a:xfrm>
            </p:grpSpPr>
            <p:sp>
              <p:nvSpPr>
                <p:cNvPr id="91" name="Flowchart: Alternate Process 90"/>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TextBox 91"/>
                <p:cNvSpPr txBox="1"/>
                <p:nvPr/>
              </p:nvSpPr>
              <p:spPr>
                <a:xfrm>
                  <a:off x="9608398"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1" name="Group 80"/>
              <p:cNvGrpSpPr/>
              <p:nvPr/>
            </p:nvGrpSpPr>
            <p:grpSpPr>
              <a:xfrm>
                <a:off x="9565309" y="1679377"/>
                <a:ext cx="1072331" cy="609256"/>
                <a:chOff x="9565309" y="1679377"/>
                <a:chExt cx="1072331" cy="609256"/>
              </a:xfrm>
            </p:grpSpPr>
            <p:sp>
              <p:nvSpPr>
                <p:cNvPr id="87" name="Flowchart: Alternate Process 86"/>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8" name="TextBox 87"/>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9" name="Rectangle 88"/>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0" name="TextBox 89"/>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82" name="Group 81"/>
              <p:cNvGrpSpPr/>
              <p:nvPr/>
            </p:nvGrpSpPr>
            <p:grpSpPr>
              <a:xfrm>
                <a:off x="10623447" y="1679377"/>
                <a:ext cx="1072331" cy="609256"/>
                <a:chOff x="9565309" y="1679377"/>
                <a:chExt cx="1072331" cy="609256"/>
              </a:xfrm>
            </p:grpSpPr>
            <p:sp>
              <p:nvSpPr>
                <p:cNvPr id="83" name="Flowchart: Alternate Process 82"/>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4" name="TextBox 83"/>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85" name="Rectangle 84"/>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6" name="TextBox 85"/>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grpSp>
          <p:nvGrpSpPr>
            <p:cNvPr id="35" name="Group 34"/>
            <p:cNvGrpSpPr/>
            <p:nvPr/>
          </p:nvGrpSpPr>
          <p:grpSpPr>
            <a:xfrm>
              <a:off x="9644274" y="2688063"/>
              <a:ext cx="1072331" cy="609256"/>
              <a:chOff x="9565309" y="1679377"/>
              <a:chExt cx="1072331" cy="609256"/>
            </a:xfrm>
          </p:grpSpPr>
          <p:sp>
            <p:nvSpPr>
              <p:cNvPr id="75" name="Flowchart: Alternate Process 7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6" name="TextBox 7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7" name="Rectangle 7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8" name="TextBox 7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36" name="Group 35"/>
            <p:cNvGrpSpPr/>
            <p:nvPr/>
          </p:nvGrpSpPr>
          <p:grpSpPr>
            <a:xfrm>
              <a:off x="9450467" y="3668590"/>
              <a:ext cx="2592068" cy="917280"/>
              <a:chOff x="9469474" y="1411557"/>
              <a:chExt cx="2592068" cy="917280"/>
            </a:xfrm>
          </p:grpSpPr>
          <p:sp>
            <p:nvSpPr>
              <p:cNvPr id="61" name="Rounded Rectangle 60"/>
              <p:cNvSpPr/>
              <p:nvPr/>
            </p:nvSpPr>
            <p:spPr bwMode="auto">
              <a:xfrm>
                <a:off x="9469474" y="1444836"/>
                <a:ext cx="2592068" cy="884001"/>
              </a:xfrm>
              <a:prstGeom prst="round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62" name="Group 61"/>
              <p:cNvGrpSpPr/>
              <p:nvPr/>
            </p:nvGrpSpPr>
            <p:grpSpPr>
              <a:xfrm>
                <a:off x="9546259" y="1411557"/>
                <a:ext cx="995546" cy="312955"/>
                <a:chOff x="9546259" y="1411557"/>
                <a:chExt cx="995546" cy="312955"/>
              </a:xfrm>
            </p:grpSpPr>
            <p:sp>
              <p:nvSpPr>
                <p:cNvPr id="73" name="Flowchart: Alternate Process 72"/>
                <p:cNvSpPr/>
                <p:nvPr/>
              </p:nvSpPr>
              <p:spPr bwMode="auto">
                <a:xfrm>
                  <a:off x="9546259" y="1527479"/>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4" name="TextBox 73"/>
                <p:cNvSpPr txBox="1"/>
                <p:nvPr/>
              </p:nvSpPr>
              <p:spPr>
                <a:xfrm>
                  <a:off x="9627405" y="141155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3" name="Group 62"/>
              <p:cNvGrpSpPr/>
              <p:nvPr/>
            </p:nvGrpSpPr>
            <p:grpSpPr>
              <a:xfrm>
                <a:off x="9565309" y="1679377"/>
                <a:ext cx="1072331" cy="609256"/>
                <a:chOff x="9565309" y="1679377"/>
                <a:chExt cx="1072331" cy="609256"/>
              </a:xfrm>
            </p:grpSpPr>
            <p:sp>
              <p:nvSpPr>
                <p:cNvPr id="69" name="Flowchart: Alternate Process 68"/>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0" name="TextBox 69"/>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71" name="Rectangle 70"/>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2" name="TextBox 71"/>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nvGrpSpPr>
              <p:cNvPr id="64" name="Group 63"/>
              <p:cNvGrpSpPr/>
              <p:nvPr/>
            </p:nvGrpSpPr>
            <p:grpSpPr>
              <a:xfrm>
                <a:off x="10623447" y="1679377"/>
                <a:ext cx="1072331" cy="609256"/>
                <a:chOff x="9565309" y="1679377"/>
                <a:chExt cx="1072331" cy="609256"/>
              </a:xfrm>
            </p:grpSpPr>
            <p:sp>
              <p:nvSpPr>
                <p:cNvPr id="65" name="Flowchart: Alternate Process 64"/>
                <p:cNvSpPr/>
                <p:nvPr/>
              </p:nvSpPr>
              <p:spPr bwMode="auto">
                <a:xfrm>
                  <a:off x="9565309" y="1808662"/>
                  <a:ext cx="976496" cy="479971"/>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6" name="TextBox 65"/>
                <p:cNvSpPr txBox="1"/>
                <p:nvPr/>
              </p:nvSpPr>
              <p:spPr>
                <a:xfrm>
                  <a:off x="9591689" y="1679377"/>
                  <a:ext cx="914400" cy="33293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67" name="Rectangle 66"/>
                <p:cNvSpPr/>
                <p:nvPr/>
              </p:nvSpPr>
              <p:spPr bwMode="auto">
                <a:xfrm>
                  <a:off x="9726753" y="2082702"/>
                  <a:ext cx="666750" cy="20136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8" name="TextBox 67"/>
                <p:cNvSpPr txBox="1"/>
                <p:nvPr/>
              </p:nvSpPr>
              <p:spPr>
                <a:xfrm>
                  <a:off x="9723240" y="1997732"/>
                  <a:ext cx="914400" cy="210825"/>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Fil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grpSp>
        </p:grpSp>
        <p:sp>
          <p:nvSpPr>
            <p:cNvPr id="37" name="Flowchart: Alternate Process 36"/>
            <p:cNvSpPr/>
            <p:nvPr/>
          </p:nvSpPr>
          <p:spPr bwMode="auto">
            <a:xfrm>
              <a:off x="9623052" y="2555474"/>
              <a:ext cx="995546" cy="197033"/>
            </a:xfrm>
            <a:prstGeom prst="flowChartAlternateProcess">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8" name="TextBox 37"/>
            <p:cNvSpPr txBox="1"/>
            <p:nvPr/>
          </p:nvSpPr>
          <p:spPr>
            <a:xfrm>
              <a:off x="9608398" y="2474277"/>
              <a:ext cx="914400" cy="24925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MemStore</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39" name="TextBox 38"/>
            <p:cNvSpPr txBox="1"/>
            <p:nvPr/>
          </p:nvSpPr>
          <p:spPr>
            <a:xfrm>
              <a:off x="11580936" y="1343606"/>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0" name="TextBox 39"/>
            <p:cNvSpPr txBox="1"/>
            <p:nvPr/>
          </p:nvSpPr>
          <p:spPr>
            <a:xfrm>
              <a:off x="11580936" y="2449689"/>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sp>
          <p:nvSpPr>
            <p:cNvPr id="41" name="TextBox 40"/>
            <p:cNvSpPr txBox="1"/>
            <p:nvPr/>
          </p:nvSpPr>
          <p:spPr>
            <a:xfrm>
              <a:off x="11580936" y="3641810"/>
              <a:ext cx="423001" cy="302818"/>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Store</a:t>
              </a:r>
            </a:p>
          </p:txBody>
        </p:sp>
        <p:grpSp>
          <p:nvGrpSpPr>
            <p:cNvPr id="42" name="Group 41"/>
            <p:cNvGrpSpPr/>
            <p:nvPr/>
          </p:nvGrpSpPr>
          <p:grpSpPr>
            <a:xfrm>
              <a:off x="11661290" y="1954955"/>
              <a:ext cx="299827" cy="75818"/>
              <a:chOff x="8251705" y="429863"/>
              <a:chExt cx="299827" cy="75818"/>
            </a:xfrm>
          </p:grpSpPr>
          <p:sp>
            <p:nvSpPr>
              <p:cNvPr id="58" name="Oval 57"/>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9" name="Oval 58"/>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0" name="Oval 59"/>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3" name="Group 42"/>
            <p:cNvGrpSpPr/>
            <p:nvPr/>
          </p:nvGrpSpPr>
          <p:grpSpPr>
            <a:xfrm>
              <a:off x="11640712" y="4249208"/>
              <a:ext cx="299827" cy="75818"/>
              <a:chOff x="8251705" y="429863"/>
              <a:chExt cx="299827" cy="75818"/>
            </a:xfrm>
          </p:grpSpPr>
          <p:sp>
            <p:nvSpPr>
              <p:cNvPr id="55" name="Oval 54"/>
              <p:cNvSpPr/>
              <p:nvPr/>
            </p:nvSpPr>
            <p:spPr bwMode="auto">
              <a:xfrm flipV="1">
                <a:off x="8251705"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6" name="Oval 55"/>
              <p:cNvSpPr/>
              <p:nvPr/>
            </p:nvSpPr>
            <p:spPr bwMode="auto">
              <a:xfrm flipV="1">
                <a:off x="8362328"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7" name="Oval 56"/>
              <p:cNvSpPr/>
              <p:nvPr/>
            </p:nvSpPr>
            <p:spPr bwMode="auto">
              <a:xfrm flipV="1">
                <a:off x="8475714" y="429863"/>
                <a:ext cx="75818" cy="7581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4" name="TextBox 43"/>
            <p:cNvSpPr txBox="1"/>
            <p:nvPr/>
          </p:nvSpPr>
          <p:spPr>
            <a:xfrm>
              <a:off x="7489048" y="2799144"/>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sp>
          <p:nvSpPr>
            <p:cNvPr id="45" name="TextBox 44"/>
            <p:cNvSpPr txBox="1"/>
            <p:nvPr/>
          </p:nvSpPr>
          <p:spPr>
            <a:xfrm>
              <a:off x="7527868" y="164746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6" name="TextBox 45"/>
            <p:cNvSpPr txBox="1"/>
            <p:nvPr/>
          </p:nvSpPr>
          <p:spPr>
            <a:xfrm>
              <a:off x="7508323" y="3896526"/>
              <a:ext cx="914400" cy="498175"/>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Segoe UI"/>
                  <a:ea typeface="+mn-ea"/>
                  <a:cs typeface="+mn-cs"/>
                </a:rPr>
                <a:t>HRegion</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TextBox 46"/>
            <p:cNvSpPr txBox="1"/>
            <p:nvPr/>
          </p:nvSpPr>
          <p:spPr>
            <a:xfrm>
              <a:off x="5027728" y="3754065"/>
              <a:ext cx="707036" cy="237783"/>
            </a:xfrm>
            <a:prstGeom prst="rect">
              <a:avLst/>
            </a:prstGeom>
            <a:solidFill>
              <a:srgbClr val="92D050"/>
            </a:solid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KeyValue’s</a:t>
              </a:r>
              <a:endParaRPr kumimoji="0" lang="en-US" sz="1100" b="0" i="0" u="none" strike="noStrike" kern="1200" cap="none" spc="0" normalizeH="0" baseline="0" noProof="0" dirty="0">
                <a:ln>
                  <a:noFill/>
                </a:ln>
                <a:solidFill>
                  <a:srgbClr val="000000">
                    <a:lumMod val="85000"/>
                    <a:lumOff val="15000"/>
                  </a:srgbClr>
                </a:solidFill>
                <a:effectLst/>
                <a:uLnTx/>
                <a:uFillTx/>
                <a:latin typeface="Segoe UI"/>
                <a:ea typeface="+mn-ea"/>
                <a:cs typeface="+mn-cs"/>
              </a:endParaRPr>
            </a:p>
          </p:txBody>
        </p:sp>
        <p:cxnSp>
          <p:nvCxnSpPr>
            <p:cNvPr id="48" name="Elbow Connector 47"/>
            <p:cNvCxnSpPr>
              <a:stCxn id="19" idx="3"/>
            </p:cNvCxnSpPr>
            <p:nvPr/>
          </p:nvCxnSpPr>
          <p:spPr>
            <a:xfrm>
              <a:off x="6523107" y="4808503"/>
              <a:ext cx="965941" cy="186132"/>
            </a:xfrm>
            <a:prstGeom prst="bentConnector3">
              <a:avLst>
                <a:gd name="adj1" fmla="val 1943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0" idx="3"/>
            </p:cNvCxnSpPr>
            <p:nvPr/>
          </p:nvCxnSpPr>
          <p:spPr>
            <a:xfrm>
              <a:off x="6532667" y="5385012"/>
              <a:ext cx="95638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3549" y="4742153"/>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sync()</a:t>
              </a:r>
            </a:p>
          </p:txBody>
        </p:sp>
        <p:sp>
          <p:nvSpPr>
            <p:cNvPr id="51" name="TextBox 50"/>
            <p:cNvSpPr txBox="1"/>
            <p:nvPr/>
          </p:nvSpPr>
          <p:spPr>
            <a:xfrm>
              <a:off x="6792841" y="5433850"/>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rollWriter</a:t>
              </a:r>
              <a:r>
                <a:rPr kumimoji="0" lang="en-US" sz="1100" b="0" i="0" u="none" strike="noStrike" kern="1200" cap="none" spc="0" normalizeH="0" baseline="0" noProof="0" dirty="0">
                  <a:ln>
                    <a:noFill/>
                  </a:ln>
                  <a:solidFill>
                    <a:srgbClr val="FFFFFF"/>
                  </a:solidFill>
                  <a:effectLst/>
                  <a:uLnTx/>
                  <a:uFillTx/>
                  <a:latin typeface="Segoe UI"/>
                  <a:ea typeface="+mn-ea"/>
                  <a:cs typeface="+mn-cs"/>
                </a:rPr>
                <a:t>()</a:t>
              </a:r>
            </a:p>
          </p:txBody>
        </p:sp>
        <p:sp>
          <p:nvSpPr>
            <p:cNvPr id="52" name="TextBox 51"/>
            <p:cNvSpPr txBox="1"/>
            <p:nvPr/>
          </p:nvSpPr>
          <p:spPr>
            <a:xfrm>
              <a:off x="9055948" y="4827578"/>
              <a:ext cx="552450" cy="227249"/>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5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FFFFFF"/>
                  </a:solidFill>
                  <a:effectLst/>
                  <a:uLnTx/>
                  <a:uFillTx/>
                  <a:latin typeface="Segoe UI"/>
                  <a:ea typeface="+mn-ea"/>
                  <a:cs typeface="+mn-cs"/>
                </a:rPr>
                <a:t>HLog</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3" name="Picture 52"/>
            <p:cNvPicPr>
              <a:picLocks noChangeAspect="1"/>
            </p:cNvPicPr>
            <p:nvPr/>
          </p:nvPicPr>
          <p:blipFill rotWithShape="1">
            <a:blip r:embed="rId5"/>
            <a:srcRect l="67769" t="87314" r="15707" b="9233"/>
            <a:stretch/>
          </p:blipFill>
          <p:spPr>
            <a:xfrm>
              <a:off x="9411701" y="5186620"/>
              <a:ext cx="1704389" cy="205863"/>
            </a:xfrm>
            <a:prstGeom prst="rect">
              <a:avLst/>
            </a:prstGeom>
            <a:ln>
              <a:solidFill>
                <a:schemeClr val="tx2">
                  <a:lumMod val="40000"/>
                  <a:lumOff val="60000"/>
                </a:schemeClr>
              </a:solidFill>
            </a:ln>
          </p:spPr>
        </p:pic>
        <p:pic>
          <p:nvPicPr>
            <p:cNvPr id="54" name="Picture 2" descr="http://1.bp.blogspot.com/_Cib_A77V54U/S2M98DazIVI/AAAAAAAAAFw/cmp0W38kWGY/s1600/wal-flow.png"/>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l="49272" t="87414" r="33974" b="9032"/>
            <a:stretch/>
          </p:blipFill>
          <p:spPr bwMode="auto">
            <a:xfrm>
              <a:off x="7573939" y="5180709"/>
              <a:ext cx="1714501" cy="209550"/>
            </a:xfrm>
            <a:prstGeom prst="rect">
              <a:avLst/>
            </a:prstGeom>
            <a:solidFill>
              <a:schemeClr val="accent2">
                <a:lumMod val="75000"/>
              </a:schemeClr>
            </a:solidFill>
            <a:ln>
              <a:solidFill>
                <a:schemeClr val="tx2"/>
              </a:solidFill>
            </a:ln>
          </p:spPr>
        </p:pic>
      </p:grpSp>
    </p:spTree>
    <p:extLst>
      <p:ext uri="{BB962C8B-B14F-4D97-AF65-F5344CB8AC3E}">
        <p14:creationId xmlns:p14="http://schemas.microsoft.com/office/powerpoint/2010/main" val="342338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Key Components: Overview</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2</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1" name="Group 40"/>
          <p:cNvGrpSpPr/>
          <p:nvPr/>
        </p:nvGrpSpPr>
        <p:grpSpPr>
          <a:xfrm>
            <a:off x="268673" y="1355204"/>
            <a:ext cx="11762536" cy="5096758"/>
            <a:chOff x="268673" y="1355204"/>
            <a:chExt cx="11762536" cy="5096758"/>
          </a:xfrm>
        </p:grpSpPr>
        <p:sp>
          <p:nvSpPr>
            <p:cNvPr id="5" name="Trapezoid 4"/>
            <p:cNvSpPr/>
            <p:nvPr/>
          </p:nvSpPr>
          <p:spPr bwMode="auto">
            <a:xfrm rot="16200000">
              <a:off x="-179586" y="3031263"/>
              <a:ext cx="5092807" cy="1748590"/>
            </a:xfrm>
            <a:prstGeom prst="trapezoid">
              <a:avLst>
                <a:gd name="adj" fmla="val 128943"/>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6" name="TextBox 5"/>
            <p:cNvSpPr txBox="1"/>
            <p:nvPr/>
          </p:nvSpPr>
          <p:spPr>
            <a:xfrm>
              <a:off x="268673" y="3577406"/>
              <a:ext cx="1238159" cy="627864"/>
            </a:xfrm>
            <a:prstGeom prst="rect">
              <a:avLst/>
            </a:prstGeom>
            <a:solidFill>
              <a:schemeClr val="accent3"/>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Base</a:t>
              </a:r>
            </a:p>
          </p:txBody>
        </p:sp>
        <p:sp>
          <p:nvSpPr>
            <p:cNvPr id="11" name="Rectangle 10"/>
            <p:cNvSpPr/>
            <p:nvPr/>
          </p:nvSpPr>
          <p:spPr bwMode="auto">
            <a:xfrm>
              <a:off x="5190038" y="2256129"/>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Rectangle 15"/>
            <p:cNvSpPr/>
            <p:nvPr/>
          </p:nvSpPr>
          <p:spPr>
            <a:xfrm>
              <a:off x="5228787" y="1515372"/>
              <a:ext cx="3264122"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sponsible for Admin Operat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Managers and Monitors the cluster</a:t>
              </a:r>
            </a:p>
          </p:txBody>
        </p:sp>
        <p:sp>
          <p:nvSpPr>
            <p:cNvPr id="17" name="Rounded Rectangle 16"/>
            <p:cNvSpPr/>
            <p:nvPr/>
          </p:nvSpPr>
          <p:spPr bwMode="auto">
            <a:xfrm>
              <a:off x="3334273" y="1476627"/>
              <a:ext cx="1873847" cy="634566"/>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 name="Rounded Rectangle 19"/>
            <p:cNvSpPr/>
            <p:nvPr/>
          </p:nvSpPr>
          <p:spPr bwMode="auto">
            <a:xfrm>
              <a:off x="3334273" y="2217384"/>
              <a:ext cx="1873847" cy="634566"/>
            </a:xfrm>
            <a:prstGeom prst="round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1" name="Rounded Rectangle 20"/>
            <p:cNvSpPr/>
            <p:nvPr/>
          </p:nvSpPr>
          <p:spPr bwMode="auto">
            <a:xfrm>
              <a:off x="3334273" y="3074988"/>
              <a:ext cx="1873847" cy="634566"/>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2" name="Rounded Rectangle 21"/>
            <p:cNvSpPr/>
            <p:nvPr/>
          </p:nvSpPr>
          <p:spPr bwMode="auto">
            <a:xfrm>
              <a:off x="3334273" y="3924950"/>
              <a:ext cx="1873847" cy="634566"/>
            </a:xfrm>
            <a:prstGeom prst="round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3" name="Rounded Rectangle 22"/>
            <p:cNvSpPr/>
            <p:nvPr/>
          </p:nvSpPr>
          <p:spPr bwMode="auto">
            <a:xfrm>
              <a:off x="3334273" y="4763475"/>
              <a:ext cx="1873847" cy="634566"/>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4" name="Rounded Rectangle 23"/>
            <p:cNvSpPr/>
            <p:nvPr/>
          </p:nvSpPr>
          <p:spPr bwMode="auto">
            <a:xfrm>
              <a:off x="3334273" y="5610743"/>
              <a:ext cx="1873847" cy="634566"/>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5" name="TextBox 24"/>
            <p:cNvSpPr txBox="1"/>
            <p:nvPr/>
          </p:nvSpPr>
          <p:spPr>
            <a:xfrm>
              <a:off x="3369654" y="158916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Mast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6" name="TextBox 25"/>
            <p:cNvSpPr txBox="1"/>
            <p:nvPr/>
          </p:nvSpPr>
          <p:spPr>
            <a:xfrm>
              <a:off x="3371226" y="2329923"/>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erver</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7" name="TextBox 26"/>
            <p:cNvSpPr txBox="1"/>
            <p:nvPr/>
          </p:nvSpPr>
          <p:spPr>
            <a:xfrm>
              <a:off x="3372795" y="3147008"/>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Regions</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8" name="TextBox 27"/>
            <p:cNvSpPr txBox="1"/>
            <p:nvPr/>
          </p:nvSpPr>
          <p:spPr>
            <a:xfrm>
              <a:off x="3421499" y="404412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HLog</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9" name="TextBox 28"/>
            <p:cNvSpPr txBox="1"/>
            <p:nvPr/>
          </p:nvSpPr>
          <p:spPr>
            <a:xfrm>
              <a:off x="3460776" y="4875257"/>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StoreFil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0" name="TextBox 29"/>
            <p:cNvSpPr txBox="1"/>
            <p:nvPr/>
          </p:nvSpPr>
          <p:spPr>
            <a:xfrm>
              <a:off x="3462345" y="5715816"/>
              <a:ext cx="1216057" cy="409489"/>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Memstore</a:t>
              </a:r>
              <a:endParaRPr kumimoji="0" lang="en-US" sz="1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31" name="Rectangle 30"/>
            <p:cNvSpPr/>
            <p:nvPr/>
          </p:nvSpPr>
          <p:spPr>
            <a:xfrm>
              <a:off x="8316666" y="1515372"/>
              <a:ext cx="3340608"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ssigns Regions to Region Server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trols Load balancing and failover</a:t>
              </a:r>
            </a:p>
          </p:txBody>
        </p:sp>
        <p:sp>
          <p:nvSpPr>
            <p:cNvPr id="32" name="Rectangle 31"/>
            <p:cNvSpPr/>
            <p:nvPr/>
          </p:nvSpPr>
          <p:spPr>
            <a:xfrm>
              <a:off x="5228787" y="2256129"/>
              <a:ext cx="3122588"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osts and manages region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plits the regions automatically</a:t>
              </a:r>
            </a:p>
          </p:txBody>
        </p:sp>
        <p:sp>
          <p:nvSpPr>
            <p:cNvPr id="33" name="Rectangle 32"/>
            <p:cNvSpPr/>
            <p:nvPr/>
          </p:nvSpPr>
          <p:spPr>
            <a:xfrm>
              <a:off x="8351375" y="2256129"/>
              <a:ext cx="3177656" cy="557076"/>
            </a:xfrm>
            <a:prstGeom prst="rect">
              <a:avLst/>
            </a:prstGeom>
            <a:solidFill>
              <a:srgbClr val="F4E4F8"/>
            </a:solidFill>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andles read/write requests</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mmunicates with clients directly</a:t>
              </a:r>
            </a:p>
          </p:txBody>
        </p:sp>
        <p:sp>
          <p:nvSpPr>
            <p:cNvPr id="34" name="Rectangle 33"/>
            <p:cNvSpPr/>
            <p:nvPr/>
          </p:nvSpPr>
          <p:spPr>
            <a:xfrm>
              <a:off x="5228787" y="3106767"/>
              <a:ext cx="6096000"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onsists of a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nd one Store per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Each store may hav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endPar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sp>
          <p:nvSpPr>
            <p:cNvPr id="35" name="Rectangle 34"/>
            <p:cNvSpPr/>
            <p:nvPr/>
          </p:nvSpPr>
          <p:spPr>
            <a:xfrm>
              <a:off x="5228787" y="3899370"/>
              <a:ext cx="6603548" cy="6740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write-ahead Log, one per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HRegionServer</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ll changes are recorded in this log.  Implemented as a Hadoop </a:t>
              </a:r>
              <a:r>
                <a:rPr kumimoji="0" lang="en-US" sz="1400" b="1" i="1" u="none" strike="noStrike" kern="1200" cap="none" spc="0" normalizeH="0" baseline="0" noProof="0" dirty="0">
                  <a:ln>
                    <a:noFill/>
                  </a:ln>
                  <a:solidFill>
                    <a:srgbClr val="000000">
                      <a:lumMod val="85000"/>
                      <a:lumOff val="15000"/>
                    </a:srgbClr>
                  </a:solidFill>
                  <a:effectLst/>
                  <a:uLnTx/>
                  <a:uFillTx/>
                  <a:latin typeface="Segoe UI"/>
                  <a:ea typeface="+mn-ea"/>
                  <a:cs typeface="+mn-cs"/>
                </a:rPr>
                <a:t>sequence file </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that stores records as sets of key/value pairs</a:t>
              </a:r>
            </a:p>
          </p:txBody>
        </p:sp>
        <p:sp>
          <p:nvSpPr>
            <p:cNvPr id="36" name="Rectangle 35"/>
            <p:cNvSpPr/>
            <p:nvPr/>
          </p:nvSpPr>
          <p:spPr>
            <a:xfrm>
              <a:off x="5190038" y="4792485"/>
              <a:ext cx="6642297" cy="557076"/>
            </a:xfrm>
            <a:prstGeom prst="rect">
              <a:avLst/>
            </a:prstGeom>
          </p:spPr>
          <p:txBody>
            <a:bodyPr wrap="square">
              <a:spAutoFit/>
            </a:bodyPr>
            <a:lstStyle/>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he data lives in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There are multiple </a:t>
              </a: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 store.</a:t>
              </a:r>
            </a:p>
            <a:p>
              <a:pPr marL="0" marR="0" lvl="0" indent="-9144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re implemented as </a:t>
              </a:r>
              <a:r>
                <a:rPr kumimoji="0" lang="en-US" sz="1400" b="1" i="1" u="none" strike="noStrike" kern="1200" cap="none" spc="0" normalizeH="0" baseline="0" noProof="0" dirty="0" err="1">
                  <a:ln>
                    <a:noFill/>
                  </a:ln>
                  <a:solidFill>
                    <a:srgbClr val="000000">
                      <a:lumMod val="65000"/>
                      <a:lumOff val="35000"/>
                    </a:srgbClr>
                  </a:solidFill>
                  <a:effectLst/>
                  <a:uLnTx/>
                  <a:uFillTx/>
                  <a:latin typeface="Segoe UI"/>
                  <a:ea typeface="+mn-ea"/>
                  <a:cs typeface="+mn-cs"/>
                </a:rPr>
                <a:t>HFiles</a:t>
              </a:r>
              <a:r>
                <a:rPr kumimoji="0" lang="en-US"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permit random read-write access)</a:t>
              </a:r>
            </a:p>
          </p:txBody>
        </p:sp>
        <p:sp>
          <p:nvSpPr>
            <p:cNvPr id="37" name="Rectangle 36"/>
            <p:cNvSpPr/>
            <p:nvPr/>
          </p:nvSpPr>
          <p:spPr>
            <a:xfrm>
              <a:off x="5228787" y="5641330"/>
              <a:ext cx="6096000" cy="4801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A in-memory cache, one per Store. All changes are first stored in the cache and then written to persistently to the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mn-cs"/>
                </a:rPr>
                <a:t>StoreFile</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mn-cs"/>
                </a:rPr>
                <a:t> asynchronously</a:t>
              </a:r>
            </a:p>
          </p:txBody>
        </p:sp>
        <p:sp>
          <p:nvSpPr>
            <p:cNvPr id="38" name="Rectangle 37"/>
            <p:cNvSpPr/>
            <p:nvPr/>
          </p:nvSpPr>
          <p:spPr bwMode="auto">
            <a:xfrm>
              <a:off x="3222826" y="1355204"/>
              <a:ext cx="45719" cy="50825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cxnSp>
          <p:nvCxnSpPr>
            <p:cNvPr id="8" name="Straight Connector 7"/>
            <p:cNvCxnSpPr/>
            <p:nvPr/>
          </p:nvCxnSpPr>
          <p:spPr>
            <a:xfrm>
              <a:off x="3225070" y="1363578"/>
              <a:ext cx="8138160" cy="0"/>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25070" y="6451962"/>
              <a:ext cx="7955280" cy="0"/>
            </a:xfrm>
            <a:prstGeom prst="line">
              <a:avLst/>
            </a:prstGeom>
            <a:ln w="28575">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5163453" y="3927226"/>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
          <p:nvSpPr>
            <p:cNvPr id="40" name="Rectangle 39"/>
            <p:cNvSpPr/>
            <p:nvPr/>
          </p:nvSpPr>
          <p:spPr bwMode="auto">
            <a:xfrm>
              <a:off x="5211374" y="5642457"/>
              <a:ext cx="6819835" cy="580639"/>
            </a:xfrm>
            <a:prstGeom prst="rect">
              <a:avLst/>
            </a:prstGeom>
            <a:solidFill>
              <a:srgbClr val="F4E4F8">
                <a:alpha val="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grpSp>
      <p:sp>
        <p:nvSpPr>
          <p:cNvPr id="42" name="Rectangle 41"/>
          <p:cNvSpPr/>
          <p:nvPr/>
        </p:nvSpPr>
        <p:spPr bwMode="auto">
          <a:xfrm>
            <a:off x="5211504" y="5595385"/>
            <a:ext cx="6819835" cy="580639"/>
          </a:xfrm>
          <a:prstGeom prst="rect">
            <a:avLst/>
          </a:prstGeom>
          <a:solidFill>
            <a:srgbClr val="B957D2">
              <a:alpha val="1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64244850"/>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ase: Object Hierarchy</a:t>
            </a:r>
          </a:p>
        </p:txBody>
      </p:sp>
      <p:sp>
        <p:nvSpPr>
          <p:cNvPr id="3" name="Slide Number Placeholder 2"/>
          <p:cNvSpPr>
            <a:spLocks noGrp="1"/>
          </p:cNvSpPr>
          <p:nvPr>
            <p:ph type="sldNum" sz="quarter" idx="11"/>
          </p:nvPr>
        </p:nvSpPr>
        <p:spPr/>
        <p:txBody>
          <a:body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53</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
        <p:nvSpPr>
          <p:cNvPr id="4" name="Rectangle 3"/>
          <p:cNvSpPr/>
          <p:nvPr/>
        </p:nvSpPr>
        <p:spPr bwMode="auto">
          <a:xfrm>
            <a:off x="479310" y="1332260"/>
            <a:ext cx="1626781" cy="6804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able</a:t>
            </a:r>
          </a:p>
        </p:txBody>
      </p:sp>
      <p:sp>
        <p:nvSpPr>
          <p:cNvPr id="6" name="Rectangle 5"/>
          <p:cNvSpPr/>
          <p:nvPr/>
        </p:nvSpPr>
        <p:spPr bwMode="auto">
          <a:xfrm>
            <a:off x="3313950" y="5391899"/>
            <a:ext cx="1626781" cy="680483"/>
          </a:xfrm>
          <a:prstGeom prst="rect">
            <a:avLst/>
          </a:pr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Block</a:t>
            </a:r>
          </a:p>
        </p:txBody>
      </p:sp>
      <p:sp>
        <p:nvSpPr>
          <p:cNvPr id="8" name="Rectangle 7"/>
          <p:cNvSpPr/>
          <p:nvPr/>
        </p:nvSpPr>
        <p:spPr bwMode="auto">
          <a:xfrm>
            <a:off x="1175742" y="2120515"/>
            <a:ext cx="1626781" cy="68048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Region</a:t>
            </a:r>
          </a:p>
        </p:txBody>
      </p:sp>
      <p:sp>
        <p:nvSpPr>
          <p:cNvPr id="9" name="Rectangle 8"/>
          <p:cNvSpPr/>
          <p:nvPr/>
        </p:nvSpPr>
        <p:spPr bwMode="auto">
          <a:xfrm>
            <a:off x="1879404" y="2906502"/>
            <a:ext cx="1626781" cy="680483"/>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tore</a:t>
            </a:r>
          </a:p>
        </p:txBody>
      </p:sp>
      <p:sp>
        <p:nvSpPr>
          <p:cNvPr id="10" name="Rectangle 9"/>
          <p:cNvSpPr/>
          <p:nvPr/>
        </p:nvSpPr>
        <p:spPr bwMode="auto">
          <a:xfrm>
            <a:off x="2592205" y="3735884"/>
            <a:ext cx="1626781" cy="680483"/>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MemStor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1" name="Rectangle 10"/>
          <p:cNvSpPr/>
          <p:nvPr/>
        </p:nvSpPr>
        <p:spPr bwMode="auto">
          <a:xfrm>
            <a:off x="2619637" y="4565048"/>
            <a:ext cx="1626781" cy="6804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rPr>
              <a:t>StoreFile</a:t>
            </a: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 name="TextBox 11"/>
          <p:cNvSpPr txBox="1"/>
          <p:nvPr/>
        </p:nvSpPr>
        <p:spPr>
          <a:xfrm>
            <a:off x="2180519" y="1454859"/>
            <a:ext cx="209461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HBase Table</a:t>
            </a:r>
          </a:p>
        </p:txBody>
      </p:sp>
      <p:sp>
        <p:nvSpPr>
          <p:cNvPr id="13" name="TextBox 12"/>
          <p:cNvSpPr txBox="1"/>
          <p:nvPr/>
        </p:nvSpPr>
        <p:spPr>
          <a:xfrm>
            <a:off x="2802516" y="2243114"/>
            <a:ext cx="76894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Regions for the table. HBase scales by having regions across many servers. </a:t>
            </a:r>
          </a:p>
        </p:txBody>
      </p:sp>
      <p:sp>
        <p:nvSpPr>
          <p:cNvPr id="14" name="TextBox 13"/>
          <p:cNvSpPr txBox="1"/>
          <p:nvPr/>
        </p:nvSpPr>
        <p:spPr>
          <a:xfrm>
            <a:off x="3506178" y="3029101"/>
            <a:ext cx="4305635"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Store per </a:t>
            </a: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ColumnFamily</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region </a:t>
            </a:r>
          </a:p>
        </p:txBody>
      </p:sp>
      <p:sp>
        <p:nvSpPr>
          <p:cNvPr id="15" name="TextBox 14"/>
          <p:cNvSpPr txBox="1"/>
          <p:nvPr/>
        </p:nvSpPr>
        <p:spPr>
          <a:xfrm>
            <a:off x="4218985" y="3858483"/>
            <a:ext cx="547046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Memstore</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per table</a:t>
            </a:r>
          </a:p>
        </p:txBody>
      </p:sp>
      <p:sp>
        <p:nvSpPr>
          <p:cNvPr id="16" name="TextBox 15"/>
          <p:cNvSpPr txBox="1"/>
          <p:nvPr/>
        </p:nvSpPr>
        <p:spPr>
          <a:xfrm>
            <a:off x="4246418" y="4632745"/>
            <a:ext cx="6498274" cy="435284"/>
          </a:xfrm>
          <a:prstGeom prst="rect">
            <a:avLst/>
          </a:prstGeom>
          <a:noFill/>
        </p:spPr>
        <p:txBody>
          <a:bodyPr wrap="none" lIns="182880" tIns="146304" rIns="182880" bIns="146304"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s</a:t>
            </a:r>
            <a:r>
              <a:rPr kumimoji="0" 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for each store for each region for the table</a:t>
            </a:r>
          </a:p>
        </p:txBody>
      </p:sp>
      <p:sp>
        <p:nvSpPr>
          <p:cNvPr id="17" name="Rectangle 1"/>
          <p:cNvSpPr>
            <a:spLocks noChangeArrowheads="1"/>
          </p:cNvSpPr>
          <p:nvPr/>
        </p:nvSpPr>
        <p:spPr bwMode="auto">
          <a:xfrm>
            <a:off x="4794870" y="5453822"/>
            <a:ext cx="7055753" cy="473646"/>
          </a:xfrm>
          <a:prstGeom prst="rect">
            <a:avLst/>
          </a:prstGeom>
          <a:noFill/>
        </p:spPr>
        <p:txBody>
          <a:bodyPr wrap="non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Blocks within a </a:t>
            </a:r>
            <a:r>
              <a:rPr kumimoji="0" lang="en-US" altLang="en-US" sz="1800" b="0" i="0" u="none" strike="noStrike" kern="1200" cap="none" spc="0" normalizeH="0" baseline="0" noProof="0" dirty="0" err="1">
                <a:ln>
                  <a:noFill/>
                </a:ln>
                <a:solidFill>
                  <a:srgbClr val="000000">
                    <a:lumMod val="65000"/>
                    <a:lumOff val="35000"/>
                  </a:srgbClr>
                </a:solidFill>
                <a:effectLst/>
                <a:uLnTx/>
                <a:uFillTx/>
                <a:latin typeface="Segoe UI"/>
                <a:ea typeface="+mn-ea"/>
                <a:cs typeface="+mn-cs"/>
              </a:rPr>
              <a:t>StoreFile</a:t>
            </a:r>
            <a:r>
              <a:rPr kumimoji="0" lang="en-US" altLang="en-US" sz="18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within a Store for each Region for the table </a:t>
            </a:r>
          </a:p>
        </p:txBody>
      </p:sp>
      <p:cxnSp>
        <p:nvCxnSpPr>
          <p:cNvPr id="19" name="Elbow Connector 18"/>
          <p:cNvCxnSpPr/>
          <p:nvPr/>
        </p:nvCxnSpPr>
        <p:spPr>
          <a:xfrm>
            <a:off x="479310" y="2023176"/>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1" name="Elbow Connector 20"/>
          <p:cNvCxnSpPr/>
          <p:nvPr/>
        </p:nvCxnSpPr>
        <p:spPr>
          <a:xfrm>
            <a:off x="1180350" y="2797368"/>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2" name="Elbow Connector 21"/>
          <p:cNvCxnSpPr/>
          <p:nvPr/>
        </p:nvCxnSpPr>
        <p:spPr>
          <a:xfrm>
            <a:off x="1890534" y="3598992"/>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3" name="Elbow Connector 22"/>
          <p:cNvCxnSpPr/>
          <p:nvPr/>
        </p:nvCxnSpPr>
        <p:spPr>
          <a:xfrm>
            <a:off x="2628150" y="5278440"/>
            <a:ext cx="685800" cy="45720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cxnSp>
        <p:nvCxnSpPr>
          <p:cNvPr id="24" name="Elbow Connector 23"/>
          <p:cNvCxnSpPr/>
          <p:nvPr/>
        </p:nvCxnSpPr>
        <p:spPr>
          <a:xfrm>
            <a:off x="1896630" y="4080576"/>
            <a:ext cx="685800" cy="822960"/>
          </a:xfrm>
          <a:prstGeom prst="bentConnector3">
            <a:avLst>
              <a:gd name="adj1" fmla="val 833"/>
            </a:avLst>
          </a:prstGeom>
          <a:ln w="28575">
            <a:headEnd type="none"/>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07824444"/>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lang="en-US" sz="2400" kern="0" spc="0" dirty="0">
                <a:solidFill>
                  <a:srgbClr val="FFFFFF"/>
                </a:solidFill>
              </a:rPr>
              <a:t>Process </a:t>
            </a:r>
            <a:r>
              <a:rPr lang="en-US" sz="2400" b="1" kern="0" spc="0" dirty="0">
                <a:solidFill>
                  <a:srgbClr val="FFFFFF"/>
                </a:solidFill>
              </a:rPr>
              <a:t>Stream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Store </a:t>
            </a:r>
            <a:r>
              <a:rPr lang="en-US" sz="2400" b="1" kern="0" spc="0" dirty="0">
                <a:solidFill>
                  <a:srgbClr val="FFFFFF"/>
                </a:solidFill>
              </a:rPr>
              <a:t>Window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Compute </a:t>
            </a:r>
            <a:r>
              <a:rPr lang="en-US" sz="2400" b="1" kern="0" spc="0" dirty="0">
                <a:solidFill>
                  <a:srgbClr val="FFFFFF"/>
                </a:solidFill>
              </a:rPr>
              <a:t>Dynamically</a:t>
            </a:r>
            <a:endParaRPr sz="2400" b="1" kern="0" spc="0" dirty="0">
              <a:solidFill>
                <a:srgbClr val="FFFFFF"/>
              </a:solidFill>
            </a:endParaRP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dirty="0">
                <a:solidFill>
                  <a:srgbClr val="FFFFFF"/>
                </a:solidFill>
              </a:rPr>
              <a:t>Queries the batch and real-time views</a:t>
            </a:r>
          </a:p>
          <a:p>
            <a:pPr marL="336015" indent="-336015">
              <a:spcAft>
                <a:spcPts val="588"/>
              </a:spcAft>
              <a:buFont typeface="Arial" panose="020B0604020202020204" pitchFamily="34" charset="0"/>
              <a:buChar char="•"/>
            </a:pPr>
            <a:r>
              <a:rPr sz="2745" kern="0" spc="0" dirty="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4507757"/>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HDInsight</a:t>
            </a:r>
          </a:p>
          <a:p>
            <a:pPr defTabSz="913860">
              <a:lnSpc>
                <a:spcPct val="90000"/>
              </a:lnSpc>
              <a:spcAft>
                <a:spcPts val="1175"/>
              </a:spcAft>
            </a:pPr>
            <a:r>
              <a:rPr lang="en-US" sz="1961" dirty="0"/>
              <a:t>Azure Blob storage</a:t>
            </a:r>
          </a:p>
          <a:p>
            <a:pPr defTabSz="913860">
              <a:lnSpc>
                <a:spcPct val="90000"/>
              </a:lnSpc>
              <a:spcAft>
                <a:spcPts val="1175"/>
              </a:spcAft>
            </a:pPr>
            <a:r>
              <a:rPr lang="en-US" sz="1961" dirty="0"/>
              <a:t>Azure Data Lake Store</a:t>
            </a:r>
          </a:p>
          <a:p>
            <a:pPr defTabSz="913860">
              <a:lnSpc>
                <a:spcPct val="90000"/>
              </a:lnSpc>
              <a:spcAft>
                <a:spcPts val="1175"/>
              </a:spcAft>
            </a:pPr>
            <a:r>
              <a:rPr lang="en-US" sz="1961" dirty="0"/>
              <a:t>Azure Data Lake Analytics</a:t>
            </a:r>
          </a:p>
          <a:p>
            <a:pPr defTabSz="913860">
              <a:lnSpc>
                <a:spcPct val="90000"/>
              </a:lnSpc>
              <a:spcAft>
                <a:spcPts val="1175"/>
              </a:spcAft>
            </a:pPr>
            <a:r>
              <a:rPr lang="en-US" sz="1961" dirty="0"/>
              <a:t>Azure SQL DW</a:t>
            </a:r>
          </a:p>
          <a:p>
            <a:pPr defTabSz="913860">
              <a:lnSpc>
                <a:spcPct val="90000"/>
              </a:lnSpc>
              <a:spcAft>
                <a:spcPts val="1175"/>
              </a:spcAft>
            </a:pPr>
            <a:r>
              <a:rPr lang="en-US" sz="1961" dirty="0"/>
              <a:t>MapReduce, Hive, Pig, </a:t>
            </a:r>
            <a:r>
              <a:rPr lang="en-US" sz="1961" dirty="0" err="1"/>
              <a:t>Oozie</a:t>
            </a:r>
            <a:endParaRPr lang="en-US" sz="1961" dirty="0"/>
          </a:p>
          <a:p>
            <a:pPr defTabSz="913860">
              <a:lnSpc>
                <a:spcPct val="90000"/>
              </a:lnSpc>
              <a:spcAft>
                <a:spcPts val="1175"/>
              </a:spcAft>
            </a:pPr>
            <a:r>
              <a:rPr lang="en-US" sz="1961" dirty="0"/>
              <a:t>SQL Server Integration Services</a:t>
            </a:r>
          </a:p>
          <a:p>
            <a:pPr defTabSz="913860">
              <a:lnSpc>
                <a:spcPct val="90000"/>
              </a:lnSpc>
              <a:spcAft>
                <a:spcPts val="1175"/>
              </a:spcAft>
            </a:pPr>
            <a:r>
              <a:rPr lang="en-US" sz="1961" dirty="0"/>
              <a:t>Azure Data Factory</a:t>
            </a:r>
          </a:p>
          <a:p>
            <a:pPr defTabSz="913860">
              <a:lnSpc>
                <a:spcPct val="90000"/>
              </a:lnSpc>
              <a:spcAft>
                <a:spcPts val="1175"/>
              </a:spcAft>
            </a:pPr>
            <a:endParaRPr lang="en-US" sz="1961" dirty="0"/>
          </a:p>
        </p:txBody>
      </p:sp>
      <p:sp>
        <p:nvSpPr>
          <p:cNvPr id="8" name="TextBox 7"/>
          <p:cNvSpPr txBox="1"/>
          <p:nvPr/>
        </p:nvSpPr>
        <p:spPr>
          <a:xfrm>
            <a:off x="4911343" y="2545632"/>
            <a:ext cx="2624540" cy="3671823"/>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Table Storage</a:t>
            </a:r>
          </a:p>
          <a:p>
            <a:pPr defTabSz="913860">
              <a:lnSpc>
                <a:spcPct val="90000"/>
              </a:lnSpc>
              <a:spcAft>
                <a:spcPts val="1175"/>
              </a:spcAft>
            </a:pPr>
            <a:r>
              <a:rPr lang="en-US" sz="1961" dirty="0" err="1"/>
              <a:t>CosmosDB</a:t>
            </a:r>
            <a:r>
              <a:rPr lang="en-US" sz="1961" dirty="0"/>
              <a:t>(</a:t>
            </a:r>
            <a:r>
              <a:rPr lang="en-US" sz="1961" dirty="0" err="1"/>
              <a:t>DocumentDB</a:t>
            </a:r>
            <a:r>
              <a:rPr lang="en-US" sz="1961" dirty="0"/>
              <a:t>) </a:t>
            </a:r>
          </a:p>
          <a:p>
            <a:pPr defTabSz="913860">
              <a:lnSpc>
                <a:spcPct val="90000"/>
              </a:lnSpc>
              <a:spcAft>
                <a:spcPts val="1175"/>
              </a:spcAft>
            </a:pPr>
            <a:r>
              <a:rPr lang="en-US" sz="1961" dirty="0" err="1"/>
              <a:t>Memcached</a:t>
            </a:r>
            <a:r>
              <a:rPr lang="en-US" sz="1961" dirty="0"/>
              <a:t>/MongoDB</a:t>
            </a:r>
          </a:p>
          <a:p>
            <a:pPr defTabSz="913860">
              <a:lnSpc>
                <a:spcPct val="90000"/>
              </a:lnSpc>
              <a:spcAft>
                <a:spcPts val="1175"/>
              </a:spcAft>
            </a:pPr>
            <a:r>
              <a:rPr lang="en-US" sz="1961" dirty="0"/>
              <a:t>SQL Server </a:t>
            </a:r>
            <a:r>
              <a:rPr lang="en-US" sz="1600" dirty="0"/>
              <a:t>(</a:t>
            </a:r>
            <a:r>
              <a:rPr lang="en-US" sz="1600" dirty="0" err="1"/>
              <a:t>Columnstore</a:t>
            </a:r>
            <a:r>
              <a:rPr lang="en-US" sz="1600" dirty="0"/>
              <a:t> indexes, </a:t>
            </a:r>
            <a:r>
              <a:rPr lang="en-US" sz="1600" dirty="0" err="1"/>
              <a:t>StreamInsight</a:t>
            </a:r>
            <a:r>
              <a:rPr lang="en-US" sz="1600" dirty="0"/>
              <a:t>)</a:t>
            </a:r>
            <a:endParaRPr lang="en-US" sz="1567" dirty="0"/>
          </a:p>
          <a:p>
            <a:pPr defTabSz="913860">
              <a:lnSpc>
                <a:spcPct val="90000"/>
              </a:lnSpc>
              <a:spcAft>
                <a:spcPts val="1175"/>
              </a:spcAft>
            </a:pPr>
            <a:r>
              <a:rPr lang="en-US" dirty="0"/>
              <a:t>Azure Stream Analytics</a:t>
            </a:r>
          </a:p>
          <a:p>
            <a:pPr defTabSz="913860">
              <a:lnSpc>
                <a:spcPct val="90000"/>
              </a:lnSpc>
              <a:spcAft>
                <a:spcPts val="1175"/>
              </a:spcAft>
            </a:pPr>
            <a:r>
              <a:rPr lang="en-US" dirty="0"/>
              <a:t>Azure Event Hubs</a:t>
            </a:r>
          </a:p>
          <a:p>
            <a:pPr defTabSz="913860">
              <a:lnSpc>
                <a:spcPct val="90000"/>
              </a:lnSpc>
              <a:spcAft>
                <a:spcPts val="1175"/>
              </a:spcAft>
            </a:pPr>
            <a:r>
              <a:rPr lang="en-US" dirty="0"/>
              <a:t>Kafka</a:t>
            </a:r>
          </a:p>
          <a:p>
            <a:pPr defTabSz="913860">
              <a:lnSpc>
                <a:spcPct val="90000"/>
              </a:lnSpc>
              <a:spcAft>
                <a:spcPts val="1175"/>
              </a:spcAft>
            </a:pPr>
            <a:r>
              <a:rPr lang="en-US" dirty="0"/>
              <a:t>Storm</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Storage Explorer</a:t>
            </a:r>
          </a:p>
          <a:p>
            <a:pPr defTabSz="913860">
              <a:lnSpc>
                <a:spcPct val="90000"/>
              </a:lnSpc>
              <a:spcAft>
                <a:spcPts val="1175"/>
              </a:spcAft>
            </a:pPr>
            <a:r>
              <a:rPr lang="en-US" sz="1961" dirty="0"/>
              <a:t>Microsoft Excel</a:t>
            </a:r>
          </a:p>
          <a:p>
            <a:pPr defTabSz="913860">
              <a:lnSpc>
                <a:spcPct val="90000"/>
              </a:lnSpc>
              <a:spcAft>
                <a:spcPts val="1175"/>
              </a:spcAft>
            </a:pPr>
            <a:r>
              <a:rPr lang="en-US" sz="1961" dirty="0" err="1"/>
              <a:t>PowerBI</a:t>
            </a:r>
            <a:endParaRPr lang="en-US" sz="1961" dirty="0"/>
          </a:p>
          <a:p>
            <a:pPr defTabSz="913860">
              <a:lnSpc>
                <a:spcPct val="90000"/>
              </a:lnSpc>
              <a:spcAft>
                <a:spcPts val="1175"/>
              </a:spcAft>
            </a:pPr>
            <a:r>
              <a:rPr lang="en-US" sz="1961" dirty="0"/>
              <a:t>Power (Query, Pivot, View, Map)</a:t>
            </a:r>
          </a:p>
          <a:p>
            <a:pPr defTabSz="913860">
              <a:lnSpc>
                <a:spcPct val="90000"/>
              </a:lnSpc>
              <a:spcAft>
                <a:spcPts val="1175"/>
              </a:spcAft>
            </a:pPr>
            <a:r>
              <a:rPr lang="en-US" sz="1961" dirty="0"/>
              <a:t>Reporting Services</a:t>
            </a:r>
          </a:p>
          <a:p>
            <a:pPr defTabSz="913860">
              <a:lnSpc>
                <a:spcPct val="90000"/>
              </a:lnSpc>
              <a:spcAft>
                <a:spcPts val="1175"/>
              </a:spcAft>
            </a:pPr>
            <a:r>
              <a:rPr lang="en-US" sz="1961" dirty="0"/>
              <a:t>LINQ to Hive</a:t>
            </a:r>
          </a:p>
          <a:p>
            <a:pPr defTabSz="913860">
              <a:lnSpc>
                <a:spcPct val="90000"/>
              </a:lnSpc>
              <a:spcAft>
                <a:spcPts val="1175"/>
              </a:spcAft>
            </a:pPr>
            <a:r>
              <a:rPr lang="en-US" sz="1961" dirty="0"/>
              <a:t>Analysis Services</a:t>
            </a:r>
          </a:p>
        </p:txBody>
      </p:sp>
    </p:spTree>
    <p:extLst>
      <p:ext uri="{BB962C8B-B14F-4D97-AF65-F5344CB8AC3E}">
        <p14:creationId xmlns:p14="http://schemas.microsoft.com/office/powerpoint/2010/main" val="1596498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Cosmos</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4.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5.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noAutofit/>
      </a:bodyPr>
      <a:lstStyle>
        <a:defPPr>
          <a:lnSpc>
            <a:spcPct val="90000"/>
          </a:lnSpc>
          <a:spcAft>
            <a:spcPts val="600"/>
          </a:spcAft>
          <a:defRPr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7025FDD9-4C58-4084-9F89-0E6ADD6FFF55}">
  <ds:schemaRefs>
    <ds:schemaRef ds:uri="http://purl.org/dc/elements/1.1/"/>
    <ds:schemaRef ds:uri="http://schemas.microsoft.com/office/infopath/2007/PartnerControls"/>
    <ds:schemaRef ds:uri="http://purl.org/dc/term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636b0322-90fb-440c-9cbc-22749e7231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0</TotalTime>
  <Words>6904</Words>
  <Application>Microsoft Office PowerPoint</Application>
  <PresentationFormat>Widescreen</PresentationFormat>
  <Paragraphs>982</Paragraphs>
  <Slides>53</Slides>
  <Notes>36</Notes>
  <HiddenSlides>0</HiddenSlides>
  <MMClips>0</MMClips>
  <ScaleCrop>false</ScaleCrop>
  <HeadingPairs>
    <vt:vector size="8" baseType="variant">
      <vt:variant>
        <vt:lpstr>Fonts Used</vt:lpstr>
      </vt:variant>
      <vt:variant>
        <vt:i4>19</vt:i4>
      </vt:variant>
      <vt:variant>
        <vt:lpstr>Theme</vt:lpstr>
      </vt:variant>
      <vt:variant>
        <vt:i4>5</vt:i4>
      </vt:variant>
      <vt:variant>
        <vt:lpstr>Embedded OLE Servers</vt:lpstr>
      </vt:variant>
      <vt:variant>
        <vt:i4>1</vt:i4>
      </vt:variant>
      <vt:variant>
        <vt:lpstr>Slide Titles</vt:lpstr>
      </vt:variant>
      <vt:variant>
        <vt:i4>53</vt:i4>
      </vt:variant>
    </vt:vector>
  </HeadingPairs>
  <TitlesOfParts>
    <vt:vector size="78" baseType="lpstr">
      <vt:lpstr>MS PGothic</vt:lpstr>
      <vt:lpstr>MS PGothic</vt:lpstr>
      <vt:lpstr>Arial</vt:lpstr>
      <vt:lpstr>Bradley Hand ITC</vt:lpstr>
      <vt:lpstr>Calibri</vt:lpstr>
      <vt:lpstr>Consolas</vt:lpstr>
      <vt:lpstr>Helvetica</vt:lpstr>
      <vt:lpstr>Menlo-Bold</vt:lpstr>
      <vt:lpstr>Menlo-Regular</vt:lpstr>
      <vt:lpstr>Montserrat</vt:lpstr>
      <vt:lpstr>Segoe</vt:lpstr>
      <vt:lpstr>Segoe Pro Light</vt:lpstr>
      <vt:lpstr>Segoe Semibold</vt:lpstr>
      <vt:lpstr>Segoe UI</vt:lpstr>
      <vt:lpstr>Segoe UI Light</vt:lpstr>
      <vt:lpstr>Segoe UI Semibold</vt:lpstr>
      <vt:lpstr>Segoe UI Semilight</vt:lpstr>
      <vt:lpstr>Times New Roman</vt:lpstr>
      <vt:lpstr>Wingdings</vt:lpstr>
      <vt:lpstr>1_Office Theme</vt:lpstr>
      <vt:lpstr>WHITE TEMPLATE</vt:lpstr>
      <vt:lpstr>STB Conversations 2013</vt:lpstr>
      <vt:lpstr>5-50033_TR23_TR-TV_Template</vt:lpstr>
      <vt:lpstr>Theme1</vt:lpstr>
      <vt:lpstr>think-cell Slide</vt:lpstr>
      <vt:lpstr>PowerPoint Presentation</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owerPoint Presentation</vt:lpstr>
      <vt:lpstr>PowerPoint Presentation</vt:lpstr>
      <vt:lpstr>PowerPoint Presentation</vt:lpstr>
      <vt:lpstr>Partitions </vt:lpstr>
      <vt:lpstr>PowerPoint Presentation</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Stream Analytics Sample Query</vt:lpstr>
      <vt:lpstr>Lowering the bar for developer skills</vt:lpstr>
      <vt:lpstr>PowerPoint Presentation</vt:lpstr>
      <vt:lpstr>Seamless integration for rapid solution development</vt:lpstr>
      <vt:lpstr>Streaming Units</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lpstr>Apache HBase: What is it?</vt:lpstr>
      <vt:lpstr>HBase: Data model</vt:lpstr>
      <vt:lpstr>HBase: Key Components</vt:lpstr>
      <vt:lpstr>HBase Key Components: Overview</vt:lpstr>
      <vt:lpstr>HBase: Object Hierarch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Andy Roberts</cp:lastModifiedBy>
  <cp:revision>6</cp:revision>
  <dcterms:modified xsi:type="dcterms:W3CDTF">2017-12-06T20: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